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2"/>
    <p:sldMasterId id="2147483669" r:id="rId3"/>
  </p:sldMasterIdLst>
  <p:notesMasterIdLst>
    <p:notesMasterId r:id="rId19"/>
  </p:notesMasterIdLst>
  <p:handoutMasterIdLst>
    <p:handoutMasterId r:id="rId20"/>
  </p:handoutMasterIdLst>
  <p:sldIdLst>
    <p:sldId id="444" r:id="rId4"/>
    <p:sldId id="401" r:id="rId5"/>
    <p:sldId id="425" r:id="rId6"/>
    <p:sldId id="403" r:id="rId7"/>
    <p:sldId id="404" r:id="rId8"/>
    <p:sldId id="426" r:id="rId9"/>
    <p:sldId id="409" r:id="rId10"/>
    <p:sldId id="427" r:id="rId11"/>
    <p:sldId id="413" r:id="rId12"/>
    <p:sldId id="414" r:id="rId13"/>
    <p:sldId id="415" r:id="rId14"/>
    <p:sldId id="428" r:id="rId15"/>
    <p:sldId id="420" r:id="rId16"/>
    <p:sldId id="421" r:id="rId17"/>
    <p:sldId id="445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E2FE"/>
    <a:srgbClr val="226AD0"/>
    <a:srgbClr val="095BC9"/>
    <a:srgbClr val="0789DF"/>
    <a:srgbClr val="0869CF"/>
    <a:srgbClr val="4EBCF7"/>
    <a:srgbClr val="0870D3"/>
    <a:srgbClr val="A0E2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98" d="100"/>
          <a:sy n="98" d="100"/>
        </p:scale>
        <p:origin x="96" y="492"/>
      </p:cViewPr>
      <p:guideLst>
        <p:guide orient="horz" pos="2160"/>
        <p:guide pos="384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C1A1EB-F38A-4348-9839-54E193FF9EF7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C9312-0F37-43B7-A68F-D316C29AA13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4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/>
    </mc:Choice>
    <mc:Fallback xmlns="">
      <p:transition spd="slow" advTm="3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/>
    </mc:Choice>
    <mc:Fallback xmlns="">
      <p:transition spd="slow" advTm="300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9"/>
          <p:cNvSpPr/>
          <p:nvPr userDrawn="1"/>
        </p:nvSpPr>
        <p:spPr>
          <a:xfrm>
            <a:off x="-17148" y="365202"/>
            <a:ext cx="12225601" cy="5516990"/>
          </a:xfrm>
          <a:custGeom>
            <a:avLst/>
            <a:gdLst>
              <a:gd name="connsiteX0" fmla="*/ 56 w 19252"/>
              <a:gd name="connsiteY0" fmla="*/ 8688 h 8688"/>
              <a:gd name="connsiteX1" fmla="*/ 3511 w 19252"/>
              <a:gd name="connsiteY1" fmla="*/ 7533 h 8688"/>
              <a:gd name="connsiteX2" fmla="*/ 9703 w 19252"/>
              <a:gd name="connsiteY2" fmla="*/ 5858 h 8688"/>
              <a:gd name="connsiteX3" fmla="*/ 14571 w 19252"/>
              <a:gd name="connsiteY3" fmla="*/ 7193 h 8688"/>
              <a:gd name="connsiteX4" fmla="*/ 19251 w 19252"/>
              <a:gd name="connsiteY4" fmla="*/ 8213 h 8688"/>
              <a:gd name="connsiteX5" fmla="*/ 19220 w 19252"/>
              <a:gd name="connsiteY5" fmla="*/ 3 h 8688"/>
              <a:gd name="connsiteX6" fmla="*/ 0 w 19252"/>
              <a:gd name="connsiteY6" fmla="*/ 32 h 8688"/>
              <a:gd name="connsiteX7" fmla="*/ 40 w 19252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3" h="8688">
                <a:moveTo>
                  <a:pt x="56" y="8688"/>
                </a:moveTo>
                <a:cubicBezTo>
                  <a:pt x="567" y="8509"/>
                  <a:pt x="1443" y="7555"/>
                  <a:pt x="3511" y="7533"/>
                </a:cubicBezTo>
                <a:cubicBezTo>
                  <a:pt x="5579" y="7511"/>
                  <a:pt x="8658" y="6654"/>
                  <a:pt x="9703" y="5858"/>
                </a:cubicBezTo>
                <a:cubicBezTo>
                  <a:pt x="10748" y="5062"/>
                  <a:pt x="10596" y="7119"/>
                  <a:pt x="14571" y="7193"/>
                </a:cubicBezTo>
                <a:cubicBezTo>
                  <a:pt x="18366" y="7103"/>
                  <a:pt x="19246" y="8208"/>
                  <a:pt x="19251" y="8213"/>
                </a:cubicBezTo>
                <a:cubicBezTo>
                  <a:pt x="19256" y="8218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0">
                <a:srgbClr val="0869CF"/>
              </a:gs>
              <a:gs pos="46000">
                <a:srgbClr val="226AD0"/>
              </a:gs>
              <a:gs pos="100000">
                <a:srgbClr val="095BC9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任意多边形 1"/>
          <p:cNvSpPr/>
          <p:nvPr userDrawn="1"/>
        </p:nvSpPr>
        <p:spPr>
          <a:xfrm>
            <a:off x="11737" y="-69068"/>
            <a:ext cx="12217883" cy="5552875"/>
          </a:xfrm>
          <a:custGeom>
            <a:avLst/>
            <a:gdLst>
              <a:gd name="connsiteX0" fmla="*/ 56 w 19240"/>
              <a:gd name="connsiteY0" fmla="*/ 8688 h 8744"/>
              <a:gd name="connsiteX1" fmla="*/ 3067 w 19240"/>
              <a:gd name="connsiteY1" fmla="*/ 7787 h 8744"/>
              <a:gd name="connsiteX2" fmla="*/ 6637 w 19240"/>
              <a:gd name="connsiteY2" fmla="*/ 8656 h 8744"/>
              <a:gd name="connsiteX3" fmla="*/ 10387 w 19240"/>
              <a:gd name="connsiteY3" fmla="*/ 8446 h 8744"/>
              <a:gd name="connsiteX4" fmla="*/ 15248 w 19240"/>
              <a:gd name="connsiteY4" fmla="*/ 6827 h 8744"/>
              <a:gd name="connsiteX5" fmla="*/ 19233 w 19240"/>
              <a:gd name="connsiteY5" fmla="*/ 7578 h 8744"/>
              <a:gd name="connsiteX6" fmla="*/ 19220 w 19240"/>
              <a:gd name="connsiteY6" fmla="*/ 3 h 8744"/>
              <a:gd name="connsiteX7" fmla="*/ 0 w 19240"/>
              <a:gd name="connsiteY7" fmla="*/ 32 h 8744"/>
              <a:gd name="connsiteX8" fmla="*/ 40 w 19240"/>
              <a:gd name="connsiteY8" fmla="*/ 8688 h 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41" h="8745">
                <a:moveTo>
                  <a:pt x="56" y="8688"/>
                </a:moveTo>
                <a:cubicBezTo>
                  <a:pt x="567" y="8509"/>
                  <a:pt x="1771" y="7775"/>
                  <a:pt x="3067" y="7787"/>
                </a:cubicBezTo>
                <a:cubicBezTo>
                  <a:pt x="4363" y="7799"/>
                  <a:pt x="5173" y="8524"/>
                  <a:pt x="6637" y="8656"/>
                </a:cubicBezTo>
                <a:cubicBezTo>
                  <a:pt x="8101" y="8788"/>
                  <a:pt x="8665" y="8812"/>
                  <a:pt x="10387" y="8446"/>
                </a:cubicBezTo>
                <a:cubicBezTo>
                  <a:pt x="12109" y="8081"/>
                  <a:pt x="13501" y="7007"/>
                  <a:pt x="15248" y="6827"/>
                </a:cubicBezTo>
                <a:cubicBezTo>
                  <a:pt x="16994" y="6647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solidFill>
            <a:srgbClr val="A1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 userDrawn="1"/>
        </p:nvSpPr>
        <p:spPr>
          <a:xfrm>
            <a:off x="-2" y="-50260"/>
            <a:ext cx="12217883" cy="5516990"/>
          </a:xfrm>
          <a:custGeom>
            <a:avLst/>
            <a:gdLst>
              <a:gd name="connsiteX0" fmla="*/ 56 w 19240"/>
              <a:gd name="connsiteY0" fmla="*/ 8688 h 8688"/>
              <a:gd name="connsiteX1" fmla="*/ 3099 w 19240"/>
              <a:gd name="connsiteY1" fmla="*/ 8072 h 8688"/>
              <a:gd name="connsiteX2" fmla="*/ 9337 w 19240"/>
              <a:gd name="connsiteY2" fmla="*/ 7810 h 8688"/>
              <a:gd name="connsiteX3" fmla="*/ 15609 w 19240"/>
              <a:gd name="connsiteY3" fmla="*/ 8104 h 8688"/>
              <a:gd name="connsiteX4" fmla="*/ 19233 w 19240"/>
              <a:gd name="connsiteY4" fmla="*/ 7578 h 8688"/>
              <a:gd name="connsiteX5" fmla="*/ 19220 w 19240"/>
              <a:gd name="connsiteY5" fmla="*/ 3 h 8688"/>
              <a:gd name="connsiteX6" fmla="*/ 0 w 19240"/>
              <a:gd name="connsiteY6" fmla="*/ 32 h 8688"/>
              <a:gd name="connsiteX7" fmla="*/ 40 w 19240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41" h="8688">
                <a:moveTo>
                  <a:pt x="56" y="8688"/>
                </a:moveTo>
                <a:cubicBezTo>
                  <a:pt x="567" y="8509"/>
                  <a:pt x="1372" y="7844"/>
                  <a:pt x="3099" y="8072"/>
                </a:cubicBezTo>
                <a:cubicBezTo>
                  <a:pt x="4826" y="8300"/>
                  <a:pt x="7656" y="8924"/>
                  <a:pt x="9337" y="7810"/>
                </a:cubicBezTo>
                <a:cubicBezTo>
                  <a:pt x="11018" y="6696"/>
                  <a:pt x="13813" y="8173"/>
                  <a:pt x="15609" y="8104"/>
                </a:cubicBezTo>
                <a:cubicBezTo>
                  <a:pt x="17746" y="8014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51000">
                <a:srgbClr val="0789DF"/>
              </a:gs>
              <a:gs pos="0">
                <a:srgbClr val="095BC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13"/>
          <p:cNvSpPr>
            <a:spLocks noEditPoints="1"/>
          </p:cNvSpPr>
          <p:nvPr userDrawn="1"/>
        </p:nvSpPr>
        <p:spPr bwMode="auto">
          <a:xfrm>
            <a:off x="699662" y="751842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: 圆角 5"/>
          <p:cNvSpPr/>
          <p:nvPr userDrawn="1"/>
        </p:nvSpPr>
        <p:spPr>
          <a:xfrm>
            <a:off x="1463864" y="2607129"/>
            <a:ext cx="9804400" cy="2260600"/>
          </a:xfrm>
          <a:prstGeom prst="roundRect">
            <a:avLst/>
          </a:prstGeom>
          <a:gradFill>
            <a:gsLst>
              <a:gs pos="100000">
                <a:schemeClr val="accent2">
                  <a:alpha val="0"/>
                </a:schemeClr>
              </a:gs>
              <a:gs pos="0">
                <a:schemeClr val="accent1">
                  <a:alpha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" name="矩形: 圆角 1"/>
          <p:cNvSpPr/>
          <p:nvPr userDrawn="1"/>
        </p:nvSpPr>
        <p:spPr>
          <a:xfrm>
            <a:off x="1333500" y="2377673"/>
            <a:ext cx="9804400" cy="2260600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82370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83486" y="342900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0262"/>
          <a:stretch>
            <a:fillRect/>
          </a:stretch>
        </p:blipFill>
        <p:spPr>
          <a:xfrm>
            <a:off x="923737" y="1983973"/>
            <a:ext cx="4323404" cy="311321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1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113"/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pic>
        <p:nvPicPr>
          <p:cNvPr id="9" name="图形 8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0262"/>
          <a:stretch>
            <a:fillRect/>
          </a:stretch>
        </p:blipFill>
        <p:spPr>
          <a:xfrm>
            <a:off x="5784293" y="2336800"/>
            <a:ext cx="5893083" cy="4243512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5065"/>
            <a:ext cx="1084579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3441300"/>
            <a:ext cx="1084579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30"/>
            <a:ext cx="1084579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9"/>
          <p:cNvSpPr/>
          <p:nvPr userDrawn="1"/>
        </p:nvSpPr>
        <p:spPr>
          <a:xfrm>
            <a:off x="-17148" y="365202"/>
            <a:ext cx="12225601" cy="5516990"/>
          </a:xfrm>
          <a:custGeom>
            <a:avLst/>
            <a:gdLst>
              <a:gd name="connsiteX0" fmla="*/ 56 w 19252"/>
              <a:gd name="connsiteY0" fmla="*/ 8688 h 8688"/>
              <a:gd name="connsiteX1" fmla="*/ 3511 w 19252"/>
              <a:gd name="connsiteY1" fmla="*/ 7533 h 8688"/>
              <a:gd name="connsiteX2" fmla="*/ 9703 w 19252"/>
              <a:gd name="connsiteY2" fmla="*/ 5858 h 8688"/>
              <a:gd name="connsiteX3" fmla="*/ 14571 w 19252"/>
              <a:gd name="connsiteY3" fmla="*/ 7193 h 8688"/>
              <a:gd name="connsiteX4" fmla="*/ 19251 w 19252"/>
              <a:gd name="connsiteY4" fmla="*/ 8213 h 8688"/>
              <a:gd name="connsiteX5" fmla="*/ 19220 w 19252"/>
              <a:gd name="connsiteY5" fmla="*/ 3 h 8688"/>
              <a:gd name="connsiteX6" fmla="*/ 0 w 19252"/>
              <a:gd name="connsiteY6" fmla="*/ 32 h 8688"/>
              <a:gd name="connsiteX7" fmla="*/ 40 w 19252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3" h="8688">
                <a:moveTo>
                  <a:pt x="56" y="8688"/>
                </a:moveTo>
                <a:cubicBezTo>
                  <a:pt x="567" y="8509"/>
                  <a:pt x="1443" y="7555"/>
                  <a:pt x="3511" y="7533"/>
                </a:cubicBezTo>
                <a:cubicBezTo>
                  <a:pt x="5579" y="7511"/>
                  <a:pt x="8658" y="6654"/>
                  <a:pt x="9703" y="5858"/>
                </a:cubicBezTo>
                <a:cubicBezTo>
                  <a:pt x="10748" y="5062"/>
                  <a:pt x="10596" y="7119"/>
                  <a:pt x="14571" y="7193"/>
                </a:cubicBezTo>
                <a:cubicBezTo>
                  <a:pt x="18366" y="7103"/>
                  <a:pt x="19246" y="8208"/>
                  <a:pt x="19251" y="8213"/>
                </a:cubicBezTo>
                <a:cubicBezTo>
                  <a:pt x="19256" y="8218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0">
                <a:srgbClr val="0869CF"/>
              </a:gs>
              <a:gs pos="46000">
                <a:srgbClr val="226AD0"/>
              </a:gs>
              <a:gs pos="100000">
                <a:srgbClr val="095BC9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任意多边形 1"/>
          <p:cNvSpPr/>
          <p:nvPr userDrawn="1"/>
        </p:nvSpPr>
        <p:spPr>
          <a:xfrm>
            <a:off x="11737" y="-69068"/>
            <a:ext cx="12217883" cy="5552875"/>
          </a:xfrm>
          <a:custGeom>
            <a:avLst/>
            <a:gdLst>
              <a:gd name="connsiteX0" fmla="*/ 56 w 19240"/>
              <a:gd name="connsiteY0" fmla="*/ 8688 h 8744"/>
              <a:gd name="connsiteX1" fmla="*/ 3067 w 19240"/>
              <a:gd name="connsiteY1" fmla="*/ 7787 h 8744"/>
              <a:gd name="connsiteX2" fmla="*/ 6637 w 19240"/>
              <a:gd name="connsiteY2" fmla="*/ 8656 h 8744"/>
              <a:gd name="connsiteX3" fmla="*/ 10387 w 19240"/>
              <a:gd name="connsiteY3" fmla="*/ 8446 h 8744"/>
              <a:gd name="connsiteX4" fmla="*/ 15248 w 19240"/>
              <a:gd name="connsiteY4" fmla="*/ 6827 h 8744"/>
              <a:gd name="connsiteX5" fmla="*/ 19233 w 19240"/>
              <a:gd name="connsiteY5" fmla="*/ 7578 h 8744"/>
              <a:gd name="connsiteX6" fmla="*/ 19220 w 19240"/>
              <a:gd name="connsiteY6" fmla="*/ 3 h 8744"/>
              <a:gd name="connsiteX7" fmla="*/ 0 w 19240"/>
              <a:gd name="connsiteY7" fmla="*/ 32 h 8744"/>
              <a:gd name="connsiteX8" fmla="*/ 40 w 19240"/>
              <a:gd name="connsiteY8" fmla="*/ 8688 h 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41" h="8745">
                <a:moveTo>
                  <a:pt x="56" y="8688"/>
                </a:moveTo>
                <a:cubicBezTo>
                  <a:pt x="567" y="8509"/>
                  <a:pt x="1771" y="7775"/>
                  <a:pt x="3067" y="7787"/>
                </a:cubicBezTo>
                <a:cubicBezTo>
                  <a:pt x="4363" y="7799"/>
                  <a:pt x="5173" y="8524"/>
                  <a:pt x="6637" y="8656"/>
                </a:cubicBezTo>
                <a:cubicBezTo>
                  <a:pt x="8101" y="8788"/>
                  <a:pt x="8665" y="8812"/>
                  <a:pt x="10387" y="8446"/>
                </a:cubicBezTo>
                <a:cubicBezTo>
                  <a:pt x="12109" y="8081"/>
                  <a:pt x="13501" y="7007"/>
                  <a:pt x="15248" y="6827"/>
                </a:cubicBezTo>
                <a:cubicBezTo>
                  <a:pt x="16994" y="6647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solidFill>
            <a:srgbClr val="A1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 userDrawn="1"/>
        </p:nvSpPr>
        <p:spPr>
          <a:xfrm>
            <a:off x="-2" y="-50260"/>
            <a:ext cx="12217883" cy="5516990"/>
          </a:xfrm>
          <a:custGeom>
            <a:avLst/>
            <a:gdLst>
              <a:gd name="connsiteX0" fmla="*/ 56 w 19240"/>
              <a:gd name="connsiteY0" fmla="*/ 8688 h 8688"/>
              <a:gd name="connsiteX1" fmla="*/ 3099 w 19240"/>
              <a:gd name="connsiteY1" fmla="*/ 8072 h 8688"/>
              <a:gd name="connsiteX2" fmla="*/ 9337 w 19240"/>
              <a:gd name="connsiteY2" fmla="*/ 7810 h 8688"/>
              <a:gd name="connsiteX3" fmla="*/ 15609 w 19240"/>
              <a:gd name="connsiteY3" fmla="*/ 8104 h 8688"/>
              <a:gd name="connsiteX4" fmla="*/ 19233 w 19240"/>
              <a:gd name="connsiteY4" fmla="*/ 7578 h 8688"/>
              <a:gd name="connsiteX5" fmla="*/ 19220 w 19240"/>
              <a:gd name="connsiteY5" fmla="*/ 3 h 8688"/>
              <a:gd name="connsiteX6" fmla="*/ 0 w 19240"/>
              <a:gd name="connsiteY6" fmla="*/ 32 h 8688"/>
              <a:gd name="connsiteX7" fmla="*/ 40 w 19240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41" h="8688">
                <a:moveTo>
                  <a:pt x="56" y="8688"/>
                </a:moveTo>
                <a:cubicBezTo>
                  <a:pt x="567" y="8509"/>
                  <a:pt x="1372" y="7844"/>
                  <a:pt x="3099" y="8072"/>
                </a:cubicBezTo>
                <a:cubicBezTo>
                  <a:pt x="4826" y="8300"/>
                  <a:pt x="7656" y="8924"/>
                  <a:pt x="9337" y="7810"/>
                </a:cubicBezTo>
                <a:cubicBezTo>
                  <a:pt x="11018" y="6696"/>
                  <a:pt x="13813" y="8173"/>
                  <a:pt x="15609" y="8104"/>
                </a:cubicBezTo>
                <a:cubicBezTo>
                  <a:pt x="17746" y="8014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51000">
                <a:srgbClr val="0789DF"/>
              </a:gs>
              <a:gs pos="0">
                <a:srgbClr val="095BC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13"/>
          <p:cNvSpPr>
            <a:spLocks noEditPoints="1"/>
          </p:cNvSpPr>
          <p:nvPr userDrawn="1"/>
        </p:nvSpPr>
        <p:spPr bwMode="auto">
          <a:xfrm>
            <a:off x="699662" y="751842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: 圆角 5"/>
          <p:cNvSpPr/>
          <p:nvPr userDrawn="1"/>
        </p:nvSpPr>
        <p:spPr>
          <a:xfrm>
            <a:off x="1463864" y="2607129"/>
            <a:ext cx="9804400" cy="2260600"/>
          </a:xfrm>
          <a:prstGeom prst="roundRect">
            <a:avLst/>
          </a:prstGeom>
          <a:gradFill>
            <a:gsLst>
              <a:gs pos="100000">
                <a:schemeClr val="accent2">
                  <a:alpha val="0"/>
                </a:schemeClr>
              </a:gs>
              <a:gs pos="0">
                <a:schemeClr val="accent1">
                  <a:alpha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" name="矩形: 圆角 1"/>
          <p:cNvSpPr/>
          <p:nvPr userDrawn="1"/>
        </p:nvSpPr>
        <p:spPr>
          <a:xfrm>
            <a:off x="1333500" y="2377673"/>
            <a:ext cx="9804400" cy="2260600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82370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83486" y="342900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0262"/>
          <a:stretch>
            <a:fillRect/>
          </a:stretch>
        </p:blipFill>
        <p:spPr>
          <a:xfrm>
            <a:off x="923737" y="1983973"/>
            <a:ext cx="4323404" cy="311321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1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113"/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pic>
        <p:nvPicPr>
          <p:cNvPr id="9" name="图形 8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0262"/>
          <a:stretch>
            <a:fillRect/>
          </a:stretch>
        </p:blipFill>
        <p:spPr>
          <a:xfrm>
            <a:off x="5784293" y="2336800"/>
            <a:ext cx="5893083" cy="4243512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5065"/>
            <a:ext cx="1084579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3441300"/>
            <a:ext cx="1084579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30"/>
            <a:ext cx="1084579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35DDC9-51DE-47E5-BC66-28F6B6B691E4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4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20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9" imgW="9525" imgH="9525" progId="TCLayout.ActiveDocument.1">
                  <p:embed/>
                </p:oleObj>
              </mc:Choice>
              <mc:Fallback>
                <p:oleObj name="think-cell Slide" r:id="rId9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椭圆 11"/>
          <p:cNvSpPr/>
          <p:nvPr userDrawn="1"/>
        </p:nvSpPr>
        <p:spPr>
          <a:xfrm>
            <a:off x="7738745" y="14757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 userDrawn="1"/>
        </p:nvSpPr>
        <p:spPr>
          <a:xfrm>
            <a:off x="7840345" y="1196340"/>
            <a:ext cx="440055" cy="440055"/>
          </a:xfrm>
          <a:prstGeom prst="ellipse">
            <a:avLst/>
          </a:prstGeom>
          <a:gradFill flip="none">
            <a:gsLst>
              <a:gs pos="51000">
                <a:srgbClr val="226AD0"/>
              </a:gs>
              <a:gs pos="0">
                <a:srgbClr val="0789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-719455" y="-828040"/>
            <a:ext cx="1638935" cy="163893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05" name="组合 304"/>
          <p:cNvGrpSpPr/>
          <p:nvPr/>
        </p:nvGrpSpPr>
        <p:grpSpPr>
          <a:xfrm>
            <a:off x="1470025" y="2682875"/>
            <a:ext cx="4180840" cy="1322070"/>
            <a:chOff x="2516723" y="-1261078"/>
            <a:chExt cx="4001552" cy="1265306"/>
          </a:xfrm>
        </p:grpSpPr>
        <p:sp>
          <p:nvSpPr>
            <p:cNvPr id="306" name="矩形 305"/>
            <p:cNvSpPr/>
            <p:nvPr/>
          </p:nvSpPr>
          <p:spPr>
            <a:xfrm>
              <a:off x="2516723" y="-1261078"/>
              <a:ext cx="2238897" cy="12653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PPT</a:t>
              </a:r>
            </a:p>
          </p:txBody>
        </p:sp>
        <p:sp>
          <p:nvSpPr>
            <p:cNvPr id="308" name="矩形 307"/>
            <p:cNvSpPr/>
            <p:nvPr/>
          </p:nvSpPr>
          <p:spPr>
            <a:xfrm>
              <a:off x="4388258" y="-1261077"/>
              <a:ext cx="1194251" cy="12653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模</a:t>
              </a:r>
            </a:p>
          </p:txBody>
        </p:sp>
        <p:sp>
          <p:nvSpPr>
            <p:cNvPr id="309" name="矩形 308"/>
            <p:cNvSpPr/>
            <p:nvPr/>
          </p:nvSpPr>
          <p:spPr>
            <a:xfrm>
              <a:off x="5324024" y="-1261077"/>
              <a:ext cx="1194251" cy="12653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板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1470025" y="1448435"/>
            <a:ext cx="6086475" cy="1322070"/>
            <a:chOff x="2274" y="2521"/>
            <a:chExt cx="9585" cy="2082"/>
          </a:xfrm>
        </p:grpSpPr>
        <p:grpSp>
          <p:nvGrpSpPr>
            <p:cNvPr id="17" name="组合 16"/>
            <p:cNvGrpSpPr/>
            <p:nvPr/>
          </p:nvGrpSpPr>
          <p:grpSpPr>
            <a:xfrm>
              <a:off x="2274" y="2521"/>
              <a:ext cx="3505" cy="2082"/>
              <a:chOff x="4388259" y="-1261078"/>
              <a:chExt cx="2130016" cy="1265305"/>
            </a:xfrm>
          </p:grpSpPr>
          <p:sp>
            <p:nvSpPr>
              <p:cNvPr id="20" name="矩形 19"/>
              <p:cNvSpPr/>
              <p:nvPr/>
            </p:nvSpPr>
            <p:spPr>
              <a:xfrm>
                <a:off x="4388259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蓝</a:t>
                </a:r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5324024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色</a:t>
                </a:r>
              </a:p>
            </p:txBody>
          </p:sp>
        </p:grpSp>
        <p:grpSp>
          <p:nvGrpSpPr>
            <p:cNvPr id="304" name="组合 303"/>
            <p:cNvGrpSpPr/>
            <p:nvPr/>
          </p:nvGrpSpPr>
          <p:grpSpPr>
            <a:xfrm>
              <a:off x="5275" y="2521"/>
              <a:ext cx="6584" cy="2082"/>
              <a:chOff x="2516723" y="-1261078"/>
              <a:chExt cx="4001552" cy="1265305"/>
            </a:xfrm>
          </p:grpSpPr>
          <p:sp>
            <p:nvSpPr>
              <p:cNvPr id="296" name="矩形 295"/>
              <p:cNvSpPr/>
              <p:nvPr/>
            </p:nvSpPr>
            <p:spPr>
              <a:xfrm>
                <a:off x="2516723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工</a:t>
                </a:r>
              </a:p>
            </p:txBody>
          </p:sp>
          <p:sp>
            <p:nvSpPr>
              <p:cNvPr id="297" name="矩形 296"/>
              <p:cNvSpPr/>
              <p:nvPr/>
            </p:nvSpPr>
            <p:spPr>
              <a:xfrm>
                <a:off x="3452492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作</a:t>
                </a:r>
              </a:p>
            </p:txBody>
          </p:sp>
          <p:sp>
            <p:nvSpPr>
              <p:cNvPr id="298" name="矩形 297"/>
              <p:cNvSpPr/>
              <p:nvPr/>
            </p:nvSpPr>
            <p:spPr>
              <a:xfrm>
                <a:off x="4388259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汇</a:t>
                </a:r>
              </a:p>
            </p:txBody>
          </p:sp>
          <p:sp>
            <p:nvSpPr>
              <p:cNvPr id="303" name="矩形 302"/>
              <p:cNvSpPr/>
              <p:nvPr/>
            </p:nvSpPr>
            <p:spPr>
              <a:xfrm>
                <a:off x="5324024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报</a:t>
                </a:r>
              </a:p>
            </p:txBody>
          </p:sp>
        </p:grpSp>
      </p:grpSp>
      <p:sp>
        <p:nvSpPr>
          <p:cNvPr id="37" name="文本占位符 85"/>
          <p:cNvSpPr txBox="1"/>
          <p:nvPr/>
        </p:nvSpPr>
        <p:spPr>
          <a:xfrm>
            <a:off x="1616075" y="4153514"/>
            <a:ext cx="4494530" cy="312420"/>
          </a:xfrm>
          <a:prstGeom prst="rect">
            <a:avLst/>
          </a:prstGeom>
        </p:spPr>
        <p:txBody>
          <a:bodyPr wrap="non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sz="1600" dirty="0">
                <a:solidFill>
                  <a:schemeClr val="bg1"/>
                </a:solidFill>
                <a:latin typeface="+mj-lt"/>
                <a:cs typeface="+mj-lt"/>
                <a:sym typeface="+mn-lt"/>
              </a:rPr>
              <a:t>Template for student defense of chang 'an university</a:t>
            </a:r>
          </a:p>
        </p:txBody>
      </p:sp>
      <p:cxnSp>
        <p:nvCxnSpPr>
          <p:cNvPr id="23" name="直接连接符 22"/>
          <p:cNvCxnSpPr/>
          <p:nvPr/>
        </p:nvCxnSpPr>
        <p:spPr>
          <a:xfrm>
            <a:off x="1616075" y="4034790"/>
            <a:ext cx="4292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/>
          <p:cNvSpPr/>
          <p:nvPr userDrawn="1"/>
        </p:nvSpPr>
        <p:spPr>
          <a:xfrm>
            <a:off x="1160145" y="25679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Content Placeholder 2"/>
          <p:cNvSpPr txBox="1"/>
          <p:nvPr/>
        </p:nvSpPr>
        <p:spPr>
          <a:xfrm>
            <a:off x="1616075" y="5487670"/>
            <a:ext cx="4987925" cy="104965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汇报：</a:t>
            </a:r>
            <a:r>
              <a:rPr lang="en-US" altLang="zh-CN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PPT818</a:t>
            </a:r>
          </a:p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时间：</a:t>
            </a:r>
            <a:r>
              <a:rPr lang="en-US" altLang="zh-CN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20XX-XX-XX</a:t>
            </a:r>
            <a:endParaRPr lang="en-US" altLang="zh-CN" sz="1600" dirty="0">
              <a:solidFill>
                <a:srgbClr val="0870D3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28" name="a2f6f956-74f0-4e48-b063-fde34c17ff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899275" y="2625725"/>
            <a:ext cx="4838065" cy="3284855"/>
            <a:chOff x="2860675" y="1228726"/>
            <a:chExt cx="6484938" cy="4402138"/>
          </a:xfrm>
        </p:grpSpPr>
        <p:sp>
          <p:nvSpPr>
            <p:cNvPr id="29" name="îṩḻíḑê"/>
            <p:cNvSpPr/>
            <p:nvPr/>
          </p:nvSpPr>
          <p:spPr bwMode="auto">
            <a:xfrm>
              <a:off x="6132513" y="1744663"/>
              <a:ext cx="2038350" cy="2060575"/>
            </a:xfrm>
            <a:custGeom>
              <a:avLst/>
              <a:gdLst>
                <a:gd name="T0" fmla="*/ 53 w 139"/>
                <a:gd name="T1" fmla="*/ 9 h 140"/>
                <a:gd name="T2" fmla="*/ 8 w 139"/>
                <a:gd name="T3" fmla="*/ 86 h 140"/>
                <a:gd name="T4" fmla="*/ 85 w 139"/>
                <a:gd name="T5" fmla="*/ 131 h 140"/>
                <a:gd name="T6" fmla="*/ 130 w 139"/>
                <a:gd name="T7" fmla="*/ 54 h 140"/>
                <a:gd name="T8" fmla="*/ 53 w 139"/>
                <a:gd name="T9" fmla="*/ 9 h 140"/>
                <a:gd name="T10" fmla="*/ 78 w 139"/>
                <a:gd name="T11" fmla="*/ 102 h 140"/>
                <a:gd name="T12" fmla="*/ 37 w 139"/>
                <a:gd name="T13" fmla="*/ 79 h 140"/>
                <a:gd name="T14" fmla="*/ 61 w 139"/>
                <a:gd name="T15" fmla="*/ 38 h 140"/>
                <a:gd name="T16" fmla="*/ 101 w 139"/>
                <a:gd name="T17" fmla="*/ 62 h 140"/>
                <a:gd name="T18" fmla="*/ 78 w 139"/>
                <a:gd name="T19" fmla="*/ 10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40">
                  <a:moveTo>
                    <a:pt x="53" y="9"/>
                  </a:moveTo>
                  <a:cubicBezTo>
                    <a:pt x="20" y="18"/>
                    <a:pt x="0" y="53"/>
                    <a:pt x="8" y="86"/>
                  </a:cubicBezTo>
                  <a:cubicBezTo>
                    <a:pt x="17" y="120"/>
                    <a:pt x="52" y="140"/>
                    <a:pt x="85" y="131"/>
                  </a:cubicBezTo>
                  <a:cubicBezTo>
                    <a:pt x="119" y="122"/>
                    <a:pt x="139" y="88"/>
                    <a:pt x="130" y="54"/>
                  </a:cubicBezTo>
                  <a:cubicBezTo>
                    <a:pt x="121" y="21"/>
                    <a:pt x="87" y="0"/>
                    <a:pt x="53" y="9"/>
                  </a:cubicBezTo>
                  <a:close/>
                  <a:moveTo>
                    <a:pt x="78" y="102"/>
                  </a:moveTo>
                  <a:cubicBezTo>
                    <a:pt x="60" y="107"/>
                    <a:pt x="42" y="96"/>
                    <a:pt x="37" y="79"/>
                  </a:cubicBezTo>
                  <a:cubicBezTo>
                    <a:pt x="33" y="61"/>
                    <a:pt x="43" y="43"/>
                    <a:pt x="61" y="38"/>
                  </a:cubicBezTo>
                  <a:cubicBezTo>
                    <a:pt x="79" y="34"/>
                    <a:pt x="97" y="44"/>
                    <a:pt x="101" y="62"/>
                  </a:cubicBezTo>
                  <a:cubicBezTo>
                    <a:pt x="106" y="80"/>
                    <a:pt x="95" y="98"/>
                    <a:pt x="78" y="10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işḷîḓe"/>
            <p:cNvSpPr/>
            <p:nvPr/>
          </p:nvSpPr>
          <p:spPr bwMode="auto">
            <a:xfrm>
              <a:off x="6616700" y="1582738"/>
              <a:ext cx="557213" cy="558800"/>
            </a:xfrm>
            <a:custGeom>
              <a:avLst/>
              <a:gdLst>
                <a:gd name="T0" fmla="*/ 38 w 38"/>
                <a:gd name="T1" fmla="*/ 31 h 38"/>
                <a:gd name="T2" fmla="*/ 11 w 38"/>
                <a:gd name="T3" fmla="*/ 38 h 38"/>
                <a:gd name="T4" fmla="*/ 4 w 38"/>
                <a:gd name="T5" fmla="*/ 11 h 38"/>
                <a:gd name="T6" fmla="*/ 31 w 38"/>
                <a:gd name="T7" fmla="*/ 4 h 38"/>
                <a:gd name="T8" fmla="*/ 38 w 38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1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0" y="17"/>
                    <a:pt x="4" y="11"/>
                  </a:cubicBezTo>
                  <a:cubicBezTo>
                    <a:pt x="7" y="5"/>
                    <a:pt x="25" y="0"/>
                    <a:pt x="31" y="4"/>
                  </a:cubicBezTo>
                  <a:cubicBezTo>
                    <a:pt x="37" y="8"/>
                    <a:pt x="38" y="31"/>
                    <a:pt x="38" y="31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ïşḷíḍé"/>
            <p:cNvSpPr/>
            <p:nvPr/>
          </p:nvSpPr>
          <p:spPr bwMode="auto">
            <a:xfrm>
              <a:off x="7100888" y="3436938"/>
              <a:ext cx="542925" cy="544513"/>
            </a:xfrm>
            <a:custGeom>
              <a:avLst/>
              <a:gdLst>
                <a:gd name="T0" fmla="*/ 27 w 37"/>
                <a:gd name="T1" fmla="*/ 0 h 37"/>
                <a:gd name="T2" fmla="*/ 0 w 37"/>
                <a:gd name="T3" fmla="*/ 7 h 37"/>
                <a:gd name="T4" fmla="*/ 7 w 37"/>
                <a:gd name="T5" fmla="*/ 33 h 37"/>
                <a:gd name="T6" fmla="*/ 34 w 37"/>
                <a:gd name="T7" fmla="*/ 26 h 37"/>
                <a:gd name="T8" fmla="*/ 27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30"/>
                    <a:pt x="7" y="33"/>
                  </a:cubicBezTo>
                  <a:cubicBezTo>
                    <a:pt x="13" y="37"/>
                    <a:pt x="32" y="33"/>
                    <a:pt x="34" y="26"/>
                  </a:cubicBezTo>
                  <a:cubicBezTo>
                    <a:pt x="37" y="20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íṩḻïḓè"/>
            <p:cNvSpPr/>
            <p:nvPr/>
          </p:nvSpPr>
          <p:spPr bwMode="auto">
            <a:xfrm>
              <a:off x="6043613" y="2052638"/>
              <a:ext cx="573088" cy="574675"/>
            </a:xfrm>
            <a:custGeom>
              <a:avLst/>
              <a:gdLst>
                <a:gd name="T0" fmla="*/ 39 w 39"/>
                <a:gd name="T1" fmla="*/ 13 h 39"/>
                <a:gd name="T2" fmla="*/ 28 w 39"/>
                <a:gd name="T3" fmla="*/ 39 h 39"/>
                <a:gd name="T4" fmla="*/ 2 w 39"/>
                <a:gd name="T5" fmla="*/ 28 h 39"/>
                <a:gd name="T6" fmla="*/ 13 w 39"/>
                <a:gd name="T7" fmla="*/ 2 h 39"/>
                <a:gd name="T8" fmla="*/ 39 w 39"/>
                <a:gd name="T9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9" y="13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5" y="34"/>
                    <a:pt x="2" y="28"/>
                  </a:cubicBezTo>
                  <a:cubicBezTo>
                    <a:pt x="0" y="22"/>
                    <a:pt x="7" y="4"/>
                    <a:pt x="13" y="2"/>
                  </a:cubicBezTo>
                  <a:cubicBezTo>
                    <a:pt x="20" y="0"/>
                    <a:pt x="39" y="13"/>
                    <a:pt x="39" y="13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ïşḻîďê"/>
            <p:cNvSpPr/>
            <p:nvPr/>
          </p:nvSpPr>
          <p:spPr bwMode="auto">
            <a:xfrm>
              <a:off x="5956300" y="2774951"/>
              <a:ext cx="528638" cy="544513"/>
            </a:xfrm>
            <a:custGeom>
              <a:avLst/>
              <a:gdLst>
                <a:gd name="T0" fmla="*/ 33 w 36"/>
                <a:gd name="T1" fmla="*/ 2 h 37"/>
                <a:gd name="T2" fmla="*/ 36 w 36"/>
                <a:gd name="T3" fmla="*/ 31 h 37"/>
                <a:gd name="T4" fmla="*/ 8 w 36"/>
                <a:gd name="T5" fmla="*/ 33 h 37"/>
                <a:gd name="T6" fmla="*/ 5 w 36"/>
                <a:gd name="T7" fmla="*/ 5 h 37"/>
                <a:gd name="T8" fmla="*/ 33 w 36"/>
                <a:gd name="T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3" y="2"/>
                  </a:move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13" y="37"/>
                    <a:pt x="8" y="33"/>
                  </a:cubicBezTo>
                  <a:cubicBezTo>
                    <a:pt x="3" y="29"/>
                    <a:pt x="0" y="10"/>
                    <a:pt x="5" y="5"/>
                  </a:cubicBezTo>
                  <a:cubicBezTo>
                    <a:pt x="10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iṩļïḍè"/>
            <p:cNvSpPr/>
            <p:nvPr/>
          </p:nvSpPr>
          <p:spPr bwMode="auto">
            <a:xfrm>
              <a:off x="7804150" y="2274888"/>
              <a:ext cx="542925" cy="544513"/>
            </a:xfrm>
            <a:custGeom>
              <a:avLst/>
              <a:gdLst>
                <a:gd name="T0" fmla="*/ 6 w 37"/>
                <a:gd name="T1" fmla="*/ 37 h 37"/>
                <a:gd name="T2" fmla="*/ 0 w 37"/>
                <a:gd name="T3" fmla="*/ 10 h 37"/>
                <a:gd name="T4" fmla="*/ 27 w 37"/>
                <a:gd name="T5" fmla="*/ 4 h 37"/>
                <a:gd name="T6" fmla="*/ 33 w 37"/>
                <a:gd name="T7" fmla="*/ 31 h 37"/>
                <a:gd name="T8" fmla="*/ 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1" y="0"/>
                    <a:pt x="27" y="4"/>
                  </a:cubicBezTo>
                  <a:cubicBezTo>
                    <a:pt x="33" y="8"/>
                    <a:pt x="37" y="26"/>
                    <a:pt x="33" y="31"/>
                  </a:cubicBezTo>
                  <a:cubicBezTo>
                    <a:pt x="29" y="37"/>
                    <a:pt x="6" y="37"/>
                    <a:pt x="6" y="3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îSlíḓê"/>
            <p:cNvSpPr/>
            <p:nvPr/>
          </p:nvSpPr>
          <p:spPr bwMode="auto">
            <a:xfrm>
              <a:off x="7335838" y="1685926"/>
              <a:ext cx="585788" cy="603250"/>
            </a:xfrm>
            <a:custGeom>
              <a:avLst/>
              <a:gdLst>
                <a:gd name="T0" fmla="*/ 0 w 40"/>
                <a:gd name="T1" fmla="*/ 24 h 41"/>
                <a:gd name="T2" fmla="*/ 23 w 40"/>
                <a:gd name="T3" fmla="*/ 41 h 41"/>
                <a:gd name="T4" fmla="*/ 40 w 40"/>
                <a:gd name="T5" fmla="*/ 19 h 41"/>
                <a:gd name="T6" fmla="*/ 17 w 40"/>
                <a:gd name="T7" fmla="*/ 2 h 41"/>
                <a:gd name="T8" fmla="*/ 0 w 40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0" y="24"/>
                  </a:move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40" y="26"/>
                    <a:pt x="40" y="19"/>
                  </a:cubicBezTo>
                  <a:cubicBezTo>
                    <a:pt x="39" y="12"/>
                    <a:pt x="24" y="0"/>
                    <a:pt x="17" y="2"/>
                  </a:cubicBezTo>
                  <a:cubicBezTo>
                    <a:pt x="10" y="3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íṧḻidé"/>
            <p:cNvSpPr/>
            <p:nvPr/>
          </p:nvSpPr>
          <p:spPr bwMode="auto">
            <a:xfrm>
              <a:off x="6308725" y="3305176"/>
              <a:ext cx="585788" cy="603250"/>
            </a:xfrm>
            <a:custGeom>
              <a:avLst/>
              <a:gdLst>
                <a:gd name="T0" fmla="*/ 40 w 40"/>
                <a:gd name="T1" fmla="*/ 17 h 41"/>
                <a:gd name="T2" fmla="*/ 18 w 40"/>
                <a:gd name="T3" fmla="*/ 0 h 41"/>
                <a:gd name="T4" fmla="*/ 1 w 40"/>
                <a:gd name="T5" fmla="*/ 22 h 41"/>
                <a:gd name="T6" fmla="*/ 23 w 40"/>
                <a:gd name="T7" fmla="*/ 39 h 41"/>
                <a:gd name="T8" fmla="*/ 40 w 40"/>
                <a:gd name="T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40" y="17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0" y="15"/>
                    <a:pt x="1" y="22"/>
                  </a:cubicBezTo>
                  <a:cubicBezTo>
                    <a:pt x="2" y="29"/>
                    <a:pt x="17" y="41"/>
                    <a:pt x="23" y="39"/>
                  </a:cubicBezTo>
                  <a:cubicBezTo>
                    <a:pt x="30" y="38"/>
                    <a:pt x="40" y="17"/>
                    <a:pt x="40" y="1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íşľiďê"/>
            <p:cNvSpPr/>
            <p:nvPr/>
          </p:nvSpPr>
          <p:spPr bwMode="auto">
            <a:xfrm>
              <a:off x="7702550" y="2981326"/>
              <a:ext cx="571500" cy="558800"/>
            </a:xfrm>
            <a:custGeom>
              <a:avLst/>
              <a:gdLst>
                <a:gd name="T0" fmla="*/ 0 w 39"/>
                <a:gd name="T1" fmla="*/ 26 h 38"/>
                <a:gd name="T2" fmla="*/ 11 w 39"/>
                <a:gd name="T3" fmla="*/ 0 h 38"/>
                <a:gd name="T4" fmla="*/ 37 w 39"/>
                <a:gd name="T5" fmla="*/ 10 h 38"/>
                <a:gd name="T6" fmla="*/ 26 w 39"/>
                <a:gd name="T7" fmla="*/ 37 h 38"/>
                <a:gd name="T8" fmla="*/ 0 w 39"/>
                <a:gd name="T9" fmla="*/ 2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0" y="2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34" y="4"/>
                    <a:pt x="37" y="10"/>
                  </a:cubicBezTo>
                  <a:cubicBezTo>
                    <a:pt x="39" y="17"/>
                    <a:pt x="32" y="35"/>
                    <a:pt x="26" y="37"/>
                  </a:cubicBezTo>
                  <a:cubicBezTo>
                    <a:pt x="19" y="38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ïşļîḑé"/>
            <p:cNvSpPr/>
            <p:nvPr/>
          </p:nvSpPr>
          <p:spPr bwMode="auto">
            <a:xfrm>
              <a:off x="8259763" y="3348038"/>
              <a:ext cx="982663" cy="1001713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iṡ1ïḍè"/>
            <p:cNvSpPr/>
            <p:nvPr/>
          </p:nvSpPr>
          <p:spPr bwMode="auto">
            <a:xfrm>
              <a:off x="8494713" y="3275013"/>
              <a:ext cx="263525" cy="265113"/>
            </a:xfrm>
            <a:custGeom>
              <a:avLst/>
              <a:gdLst>
                <a:gd name="T0" fmla="*/ 18 w 18"/>
                <a:gd name="T1" fmla="*/ 15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5"/>
                    <a:pt x="18" y="15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íSļíďè"/>
            <p:cNvSpPr/>
            <p:nvPr/>
          </p:nvSpPr>
          <p:spPr bwMode="auto">
            <a:xfrm>
              <a:off x="8729663" y="4157663"/>
              <a:ext cx="263525" cy="280988"/>
            </a:xfrm>
            <a:custGeom>
              <a:avLst/>
              <a:gdLst>
                <a:gd name="T0" fmla="*/ 13 w 18"/>
                <a:gd name="T1" fmla="*/ 0 h 19"/>
                <a:gd name="T2" fmla="*/ 0 w 18"/>
                <a:gd name="T3" fmla="*/ 4 h 19"/>
                <a:gd name="T4" fmla="*/ 3 w 18"/>
                <a:gd name="T5" fmla="*/ 17 h 19"/>
                <a:gd name="T6" fmla="*/ 17 w 18"/>
                <a:gd name="T7" fmla="*/ 13 h 19"/>
                <a:gd name="T8" fmla="*/ 13 w 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9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işḷïḍe"/>
            <p:cNvSpPr/>
            <p:nvPr/>
          </p:nvSpPr>
          <p:spPr bwMode="auto">
            <a:xfrm>
              <a:off x="8215313" y="3495676"/>
              <a:ext cx="279400" cy="279400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1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íṧḻíḍê"/>
            <p:cNvSpPr/>
            <p:nvPr/>
          </p:nvSpPr>
          <p:spPr bwMode="auto">
            <a:xfrm>
              <a:off x="8170863" y="3849688"/>
              <a:ext cx="250825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ísļîďè"/>
            <p:cNvSpPr/>
            <p:nvPr/>
          </p:nvSpPr>
          <p:spPr bwMode="auto">
            <a:xfrm>
              <a:off x="9066213" y="3598863"/>
              <a:ext cx="265113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îsļîḍè"/>
            <p:cNvSpPr/>
            <p:nvPr/>
          </p:nvSpPr>
          <p:spPr bwMode="auto">
            <a:xfrm>
              <a:off x="8847138" y="3319463"/>
              <a:ext cx="277813" cy="293688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ïṩlîḑe"/>
            <p:cNvSpPr/>
            <p:nvPr/>
          </p:nvSpPr>
          <p:spPr bwMode="auto">
            <a:xfrm>
              <a:off x="8347075" y="4098926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ïş1iďê"/>
            <p:cNvSpPr/>
            <p:nvPr/>
          </p:nvSpPr>
          <p:spPr bwMode="auto">
            <a:xfrm>
              <a:off x="9021763" y="3937001"/>
              <a:ext cx="279400" cy="279400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iSļîdê"/>
            <p:cNvSpPr/>
            <p:nvPr/>
          </p:nvSpPr>
          <p:spPr bwMode="auto">
            <a:xfrm>
              <a:off x="3887788" y="1303338"/>
              <a:ext cx="982663" cy="1000125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ïṣḻiḑè"/>
            <p:cNvSpPr/>
            <p:nvPr/>
          </p:nvSpPr>
          <p:spPr bwMode="auto">
            <a:xfrm>
              <a:off x="4122738" y="1228726"/>
              <a:ext cx="263525" cy="265113"/>
            </a:xfrm>
            <a:custGeom>
              <a:avLst/>
              <a:gdLst>
                <a:gd name="T0" fmla="*/ 18 w 18"/>
                <a:gd name="T1" fmla="*/ 14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4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4"/>
                    <a:pt x="18" y="14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îŝ1iḓê"/>
            <p:cNvSpPr/>
            <p:nvPr/>
          </p:nvSpPr>
          <p:spPr bwMode="auto">
            <a:xfrm>
              <a:off x="4356100" y="2112963"/>
              <a:ext cx="265113" cy="263525"/>
            </a:xfrm>
            <a:custGeom>
              <a:avLst/>
              <a:gdLst>
                <a:gd name="T0" fmla="*/ 13 w 18"/>
                <a:gd name="T1" fmla="*/ 0 h 18"/>
                <a:gd name="T2" fmla="*/ 0 w 18"/>
                <a:gd name="T3" fmla="*/ 4 h 18"/>
                <a:gd name="T4" fmla="*/ 3 w 18"/>
                <a:gd name="T5" fmla="*/ 17 h 18"/>
                <a:gd name="T6" fmla="*/ 17 w 18"/>
                <a:gd name="T7" fmla="*/ 13 h 18"/>
                <a:gd name="T8" fmla="*/ 13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8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ïṩļíďê"/>
            <p:cNvSpPr/>
            <p:nvPr/>
          </p:nvSpPr>
          <p:spPr bwMode="auto">
            <a:xfrm>
              <a:off x="3843338" y="1449388"/>
              <a:ext cx="279400" cy="280988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0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îṧ1îḑè"/>
            <p:cNvSpPr/>
            <p:nvPr/>
          </p:nvSpPr>
          <p:spPr bwMode="auto">
            <a:xfrm>
              <a:off x="3798888" y="1803401"/>
              <a:ext cx="249238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ï$lîḑê"/>
            <p:cNvSpPr/>
            <p:nvPr/>
          </p:nvSpPr>
          <p:spPr bwMode="auto">
            <a:xfrm>
              <a:off x="4694238" y="1552576"/>
              <a:ext cx="263525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ïS1îďé"/>
            <p:cNvSpPr/>
            <p:nvPr/>
          </p:nvSpPr>
          <p:spPr bwMode="auto">
            <a:xfrm>
              <a:off x="4473575" y="1273176"/>
              <a:ext cx="279400" cy="295275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íšḷïďê"/>
            <p:cNvSpPr/>
            <p:nvPr/>
          </p:nvSpPr>
          <p:spPr bwMode="auto">
            <a:xfrm>
              <a:off x="3975100" y="2052638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iṣlíḍè"/>
            <p:cNvSpPr/>
            <p:nvPr/>
          </p:nvSpPr>
          <p:spPr bwMode="auto">
            <a:xfrm>
              <a:off x="4649788" y="1890713"/>
              <a:ext cx="279400" cy="280988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iŝ1îďe"/>
            <p:cNvSpPr/>
            <p:nvPr/>
          </p:nvSpPr>
          <p:spPr bwMode="auto">
            <a:xfrm>
              <a:off x="3359150" y="2641601"/>
              <a:ext cx="4503738" cy="2620963"/>
            </a:xfrm>
            <a:custGeom>
              <a:avLst/>
              <a:gdLst>
                <a:gd name="T0" fmla="*/ 294 w 307"/>
                <a:gd name="T1" fmla="*/ 0 h 178"/>
                <a:gd name="T2" fmla="*/ 307 w 307"/>
                <a:gd name="T3" fmla="*/ 14 h 178"/>
                <a:gd name="T4" fmla="*/ 307 w 307"/>
                <a:gd name="T5" fmla="*/ 164 h 178"/>
                <a:gd name="T6" fmla="*/ 293 w 307"/>
                <a:gd name="T7" fmla="*/ 177 h 178"/>
                <a:gd name="T8" fmla="*/ 14 w 307"/>
                <a:gd name="T9" fmla="*/ 177 h 178"/>
                <a:gd name="T10" fmla="*/ 0 w 307"/>
                <a:gd name="T11" fmla="*/ 163 h 178"/>
                <a:gd name="T12" fmla="*/ 1 w 307"/>
                <a:gd name="T13" fmla="*/ 13 h 178"/>
                <a:gd name="T14" fmla="*/ 14 w 307"/>
                <a:gd name="T15" fmla="*/ 0 h 178"/>
                <a:gd name="T16" fmla="*/ 294 w 307"/>
                <a:gd name="T17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178">
                  <a:moveTo>
                    <a:pt x="294" y="0"/>
                  </a:moveTo>
                  <a:cubicBezTo>
                    <a:pt x="301" y="0"/>
                    <a:pt x="307" y="7"/>
                    <a:pt x="307" y="1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307" y="171"/>
                    <a:pt x="301" y="178"/>
                    <a:pt x="293" y="177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6" y="177"/>
                    <a:pt x="0" y="171"/>
                    <a:pt x="0" y="16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6"/>
                    <a:pt x="7" y="0"/>
                    <a:pt x="14" y="0"/>
                  </a:cubicBezTo>
                  <a:lnTo>
                    <a:pt x="29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îS1îdè"/>
            <p:cNvSpPr/>
            <p:nvPr/>
          </p:nvSpPr>
          <p:spPr bwMode="auto">
            <a:xfrm>
              <a:off x="3638550" y="2847976"/>
              <a:ext cx="3594100" cy="2208213"/>
            </a:xfrm>
            <a:custGeom>
              <a:avLst/>
              <a:gdLst>
                <a:gd name="T0" fmla="*/ 2264 w 2264"/>
                <a:gd name="T1" fmla="*/ 9 h 1391"/>
                <a:gd name="T2" fmla="*/ 2255 w 2264"/>
                <a:gd name="T3" fmla="*/ 1391 h 1391"/>
                <a:gd name="T4" fmla="*/ 0 w 2264"/>
                <a:gd name="T5" fmla="*/ 1382 h 1391"/>
                <a:gd name="T6" fmla="*/ 9 w 2264"/>
                <a:gd name="T7" fmla="*/ 0 h 1391"/>
                <a:gd name="T8" fmla="*/ 2264 w 2264"/>
                <a:gd name="T9" fmla="*/ 9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4" h="1391">
                  <a:moveTo>
                    <a:pt x="2264" y="9"/>
                  </a:moveTo>
                  <a:lnTo>
                    <a:pt x="2255" y="1391"/>
                  </a:lnTo>
                  <a:lnTo>
                    <a:pt x="0" y="1382"/>
                  </a:lnTo>
                  <a:lnTo>
                    <a:pt x="9" y="0"/>
                  </a:lnTo>
                  <a:lnTo>
                    <a:pt x="2264" y="9"/>
                  </a:lnTo>
                  <a:close/>
                </a:path>
              </a:pathLst>
            </a:custGeom>
            <a:solidFill>
              <a:srgbClr val="B9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iş1iḋé"/>
            <p:cNvSpPr/>
            <p:nvPr/>
          </p:nvSpPr>
          <p:spPr bwMode="auto">
            <a:xfrm>
              <a:off x="7350125" y="3760788"/>
              <a:ext cx="366713" cy="382588"/>
            </a:xfrm>
            <a:prstGeom prst="ellipse">
              <a:avLst/>
            </a:prstGeom>
            <a:solidFill>
              <a:srgbClr val="ECEB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îSļïďe"/>
            <p:cNvSpPr/>
            <p:nvPr/>
          </p:nvSpPr>
          <p:spPr bwMode="auto">
            <a:xfrm>
              <a:off x="2860675" y="3643313"/>
              <a:ext cx="2597150" cy="1177925"/>
            </a:xfrm>
            <a:prstGeom prst="rect">
              <a:avLst/>
            </a:prstGeom>
            <a:solidFill>
              <a:srgbClr val="EE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iṧḻiḓê"/>
            <p:cNvSpPr/>
            <p:nvPr/>
          </p:nvSpPr>
          <p:spPr bwMode="auto">
            <a:xfrm>
              <a:off x="3036888" y="3952876"/>
              <a:ext cx="176213" cy="7207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iṣḻïḍê"/>
            <p:cNvSpPr/>
            <p:nvPr/>
          </p:nvSpPr>
          <p:spPr bwMode="auto">
            <a:xfrm>
              <a:off x="3255963" y="4143376"/>
              <a:ext cx="206375" cy="530225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ïś1ïdê"/>
            <p:cNvSpPr/>
            <p:nvPr/>
          </p:nvSpPr>
          <p:spPr bwMode="auto">
            <a:xfrm>
              <a:off x="3521075" y="4054476"/>
              <a:ext cx="190500" cy="6191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îšḷíďe"/>
            <p:cNvSpPr/>
            <p:nvPr/>
          </p:nvSpPr>
          <p:spPr bwMode="auto">
            <a:xfrm>
              <a:off x="3740150" y="4305301"/>
              <a:ext cx="206375" cy="36830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ïšlíḑè"/>
            <p:cNvSpPr/>
            <p:nvPr/>
          </p:nvSpPr>
          <p:spPr bwMode="auto">
            <a:xfrm>
              <a:off x="4283075" y="4187826"/>
              <a:ext cx="1041400" cy="485775"/>
            </a:xfrm>
            <a:custGeom>
              <a:avLst/>
              <a:gdLst>
                <a:gd name="T0" fmla="*/ 0 w 71"/>
                <a:gd name="T1" fmla="*/ 6 h 33"/>
                <a:gd name="T2" fmla="*/ 10 w 71"/>
                <a:gd name="T3" fmla="*/ 0 h 33"/>
                <a:gd name="T4" fmla="*/ 16 w 71"/>
                <a:gd name="T5" fmla="*/ 3 h 33"/>
                <a:gd name="T6" fmla="*/ 26 w 71"/>
                <a:gd name="T7" fmla="*/ 13 h 33"/>
                <a:gd name="T8" fmla="*/ 34 w 71"/>
                <a:gd name="T9" fmla="*/ 6 h 33"/>
                <a:gd name="T10" fmla="*/ 37 w 71"/>
                <a:gd name="T11" fmla="*/ 8 h 33"/>
                <a:gd name="T12" fmla="*/ 42 w 71"/>
                <a:gd name="T13" fmla="*/ 11 h 33"/>
                <a:gd name="T14" fmla="*/ 47 w 71"/>
                <a:gd name="T15" fmla="*/ 13 h 33"/>
                <a:gd name="T16" fmla="*/ 57 w 71"/>
                <a:gd name="T17" fmla="*/ 14 h 33"/>
                <a:gd name="T18" fmla="*/ 61 w 71"/>
                <a:gd name="T19" fmla="*/ 22 h 33"/>
                <a:gd name="T20" fmla="*/ 71 w 71"/>
                <a:gd name="T21" fmla="*/ 21 h 33"/>
                <a:gd name="T22" fmla="*/ 71 w 71"/>
                <a:gd name="T23" fmla="*/ 33 h 33"/>
                <a:gd name="T24" fmla="*/ 0 w 71"/>
                <a:gd name="T25" fmla="*/ 33 h 33"/>
                <a:gd name="T26" fmla="*/ 0 w 71"/>
                <a:gd name="T27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33">
                  <a:moveTo>
                    <a:pt x="0" y="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55" y="14"/>
                    <a:pt x="57" y="14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ïśḷïḍe"/>
            <p:cNvSpPr/>
            <p:nvPr/>
          </p:nvSpPr>
          <p:spPr bwMode="auto">
            <a:xfrm>
              <a:off x="4283075" y="4481513"/>
              <a:ext cx="1041400" cy="192088"/>
            </a:xfrm>
            <a:custGeom>
              <a:avLst/>
              <a:gdLst>
                <a:gd name="T0" fmla="*/ 0 w 656"/>
                <a:gd name="T1" fmla="*/ 47 h 121"/>
                <a:gd name="T2" fmla="*/ 93 w 656"/>
                <a:gd name="T3" fmla="*/ 0 h 121"/>
                <a:gd name="T4" fmla="*/ 130 w 656"/>
                <a:gd name="T5" fmla="*/ 37 h 121"/>
                <a:gd name="T6" fmla="*/ 167 w 656"/>
                <a:gd name="T7" fmla="*/ 47 h 121"/>
                <a:gd name="T8" fmla="*/ 250 w 656"/>
                <a:gd name="T9" fmla="*/ 19 h 121"/>
                <a:gd name="T10" fmla="*/ 296 w 656"/>
                <a:gd name="T11" fmla="*/ 47 h 121"/>
                <a:gd name="T12" fmla="*/ 361 w 656"/>
                <a:gd name="T13" fmla="*/ 75 h 121"/>
                <a:gd name="T14" fmla="*/ 435 w 656"/>
                <a:gd name="T15" fmla="*/ 93 h 121"/>
                <a:gd name="T16" fmla="*/ 527 w 656"/>
                <a:gd name="T17" fmla="*/ 93 h 121"/>
                <a:gd name="T18" fmla="*/ 583 w 656"/>
                <a:gd name="T19" fmla="*/ 93 h 121"/>
                <a:gd name="T20" fmla="*/ 656 w 656"/>
                <a:gd name="T21" fmla="*/ 121 h 121"/>
                <a:gd name="T22" fmla="*/ 0 w 656"/>
                <a:gd name="T23" fmla="*/ 121 h 121"/>
                <a:gd name="T24" fmla="*/ 0 w 656"/>
                <a:gd name="T25" fmla="*/ 4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6" h="121">
                  <a:moveTo>
                    <a:pt x="0" y="47"/>
                  </a:moveTo>
                  <a:lnTo>
                    <a:pt x="93" y="0"/>
                  </a:lnTo>
                  <a:lnTo>
                    <a:pt x="130" y="37"/>
                  </a:lnTo>
                  <a:lnTo>
                    <a:pt x="167" y="47"/>
                  </a:lnTo>
                  <a:lnTo>
                    <a:pt x="250" y="19"/>
                  </a:lnTo>
                  <a:lnTo>
                    <a:pt x="296" y="47"/>
                  </a:lnTo>
                  <a:lnTo>
                    <a:pt x="361" y="75"/>
                  </a:lnTo>
                  <a:lnTo>
                    <a:pt x="435" y="93"/>
                  </a:lnTo>
                  <a:lnTo>
                    <a:pt x="527" y="93"/>
                  </a:lnTo>
                  <a:lnTo>
                    <a:pt x="583" y="93"/>
                  </a:lnTo>
                  <a:lnTo>
                    <a:pt x="656" y="121"/>
                  </a:lnTo>
                  <a:lnTo>
                    <a:pt x="0" y="121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íṡľíḍé"/>
            <p:cNvSpPr/>
            <p:nvPr/>
          </p:nvSpPr>
          <p:spPr bwMode="auto">
            <a:xfrm>
              <a:off x="5749925" y="4202113"/>
              <a:ext cx="660400" cy="1060450"/>
            </a:xfrm>
            <a:custGeom>
              <a:avLst/>
              <a:gdLst>
                <a:gd name="T0" fmla="*/ 416 w 416"/>
                <a:gd name="T1" fmla="*/ 659 h 668"/>
                <a:gd name="T2" fmla="*/ 0 w 416"/>
                <a:gd name="T3" fmla="*/ 668 h 668"/>
                <a:gd name="T4" fmla="*/ 10 w 416"/>
                <a:gd name="T5" fmla="*/ 0 h 668"/>
                <a:gd name="T6" fmla="*/ 416 w 416"/>
                <a:gd name="T7" fmla="*/ 0 h 668"/>
                <a:gd name="T8" fmla="*/ 416 w 416"/>
                <a:gd name="T9" fmla="*/ 659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668">
                  <a:moveTo>
                    <a:pt x="416" y="659"/>
                  </a:moveTo>
                  <a:lnTo>
                    <a:pt x="0" y="668"/>
                  </a:lnTo>
                  <a:lnTo>
                    <a:pt x="10" y="0"/>
                  </a:lnTo>
                  <a:lnTo>
                    <a:pt x="416" y="0"/>
                  </a:lnTo>
                  <a:lnTo>
                    <a:pt x="416" y="659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î$ľiḋe"/>
            <p:cNvSpPr/>
            <p:nvPr/>
          </p:nvSpPr>
          <p:spPr bwMode="auto">
            <a:xfrm>
              <a:off x="6557963" y="4481513"/>
              <a:ext cx="703263" cy="766763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îšḻîḋe"/>
            <p:cNvSpPr/>
            <p:nvPr/>
          </p:nvSpPr>
          <p:spPr bwMode="auto">
            <a:xfrm>
              <a:off x="7467600" y="4364038"/>
              <a:ext cx="660400" cy="8842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íṧḻïḍê"/>
            <p:cNvSpPr/>
            <p:nvPr/>
          </p:nvSpPr>
          <p:spPr bwMode="auto">
            <a:xfrm>
              <a:off x="8259763" y="4732338"/>
              <a:ext cx="719138" cy="5159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îŝ1îďe"/>
            <p:cNvSpPr/>
            <p:nvPr/>
          </p:nvSpPr>
          <p:spPr bwMode="auto">
            <a:xfrm>
              <a:off x="4240213" y="1951038"/>
              <a:ext cx="5002213" cy="2133600"/>
            </a:xfrm>
            <a:custGeom>
              <a:avLst/>
              <a:gdLst>
                <a:gd name="T0" fmla="*/ 3151 w 3151"/>
                <a:gd name="T1" fmla="*/ 408 h 1344"/>
                <a:gd name="T2" fmla="*/ 2495 w 3151"/>
                <a:gd name="T3" fmla="*/ 519 h 1344"/>
                <a:gd name="T4" fmla="*/ 2495 w 3151"/>
                <a:gd name="T5" fmla="*/ 945 h 1344"/>
                <a:gd name="T6" fmla="*/ 2088 w 3151"/>
                <a:gd name="T7" fmla="*/ 751 h 1344"/>
                <a:gd name="T8" fmla="*/ 1885 w 3151"/>
                <a:gd name="T9" fmla="*/ 1094 h 1344"/>
                <a:gd name="T10" fmla="*/ 1876 w 3151"/>
                <a:gd name="T11" fmla="*/ 1084 h 1344"/>
                <a:gd name="T12" fmla="*/ 739 w 3151"/>
                <a:gd name="T13" fmla="*/ 630 h 1344"/>
                <a:gd name="T14" fmla="*/ 711 w 3151"/>
                <a:gd name="T15" fmla="*/ 1270 h 1344"/>
                <a:gd name="T16" fmla="*/ 0 w 3151"/>
                <a:gd name="T17" fmla="*/ 1344 h 1344"/>
                <a:gd name="T18" fmla="*/ 0 w 3151"/>
                <a:gd name="T19" fmla="*/ 1307 h 1344"/>
                <a:gd name="T20" fmla="*/ 665 w 3151"/>
                <a:gd name="T21" fmla="*/ 1233 h 1344"/>
                <a:gd name="T22" fmla="*/ 702 w 3151"/>
                <a:gd name="T23" fmla="*/ 574 h 1344"/>
                <a:gd name="T24" fmla="*/ 1876 w 3151"/>
                <a:gd name="T25" fmla="*/ 1038 h 1344"/>
                <a:gd name="T26" fmla="*/ 2070 w 3151"/>
                <a:gd name="T27" fmla="*/ 704 h 1344"/>
                <a:gd name="T28" fmla="*/ 2458 w 3151"/>
                <a:gd name="T29" fmla="*/ 880 h 1344"/>
                <a:gd name="T30" fmla="*/ 2458 w 3151"/>
                <a:gd name="T31" fmla="*/ 491 h 1344"/>
                <a:gd name="T32" fmla="*/ 3105 w 3151"/>
                <a:gd name="T33" fmla="*/ 380 h 1344"/>
                <a:gd name="T34" fmla="*/ 3031 w 3151"/>
                <a:gd name="T35" fmla="*/ 9 h 1344"/>
                <a:gd name="T36" fmla="*/ 3077 w 3151"/>
                <a:gd name="T37" fmla="*/ 0 h 1344"/>
                <a:gd name="T38" fmla="*/ 3151 w 3151"/>
                <a:gd name="T39" fmla="*/ 408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1" h="1344">
                  <a:moveTo>
                    <a:pt x="3151" y="408"/>
                  </a:moveTo>
                  <a:lnTo>
                    <a:pt x="2495" y="519"/>
                  </a:lnTo>
                  <a:lnTo>
                    <a:pt x="2495" y="945"/>
                  </a:lnTo>
                  <a:lnTo>
                    <a:pt x="2088" y="751"/>
                  </a:lnTo>
                  <a:lnTo>
                    <a:pt x="1885" y="1094"/>
                  </a:lnTo>
                  <a:lnTo>
                    <a:pt x="1876" y="1084"/>
                  </a:lnTo>
                  <a:lnTo>
                    <a:pt x="739" y="630"/>
                  </a:lnTo>
                  <a:lnTo>
                    <a:pt x="711" y="1270"/>
                  </a:lnTo>
                  <a:lnTo>
                    <a:pt x="0" y="1344"/>
                  </a:lnTo>
                  <a:lnTo>
                    <a:pt x="0" y="1307"/>
                  </a:lnTo>
                  <a:lnTo>
                    <a:pt x="665" y="1233"/>
                  </a:lnTo>
                  <a:lnTo>
                    <a:pt x="702" y="574"/>
                  </a:lnTo>
                  <a:lnTo>
                    <a:pt x="1876" y="1038"/>
                  </a:lnTo>
                  <a:lnTo>
                    <a:pt x="2070" y="704"/>
                  </a:lnTo>
                  <a:lnTo>
                    <a:pt x="2458" y="880"/>
                  </a:lnTo>
                  <a:lnTo>
                    <a:pt x="2458" y="491"/>
                  </a:lnTo>
                  <a:lnTo>
                    <a:pt x="3105" y="380"/>
                  </a:lnTo>
                  <a:lnTo>
                    <a:pt x="3031" y="9"/>
                  </a:lnTo>
                  <a:lnTo>
                    <a:pt x="3077" y="0"/>
                  </a:lnTo>
                  <a:lnTo>
                    <a:pt x="3151" y="408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išḻiḑé"/>
            <p:cNvSpPr/>
            <p:nvPr/>
          </p:nvSpPr>
          <p:spPr bwMode="auto">
            <a:xfrm>
              <a:off x="5281613" y="2760663"/>
              <a:ext cx="277813" cy="263525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îśľiďé"/>
            <p:cNvSpPr/>
            <p:nvPr/>
          </p:nvSpPr>
          <p:spPr bwMode="auto">
            <a:xfrm>
              <a:off x="5192713" y="3805238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îṧļíďé"/>
            <p:cNvSpPr/>
            <p:nvPr/>
          </p:nvSpPr>
          <p:spPr bwMode="auto">
            <a:xfrm>
              <a:off x="7115175" y="3467101"/>
              <a:ext cx="263525" cy="263525"/>
            </a:xfrm>
            <a:custGeom>
              <a:avLst/>
              <a:gdLst>
                <a:gd name="T0" fmla="*/ 12 w 18"/>
                <a:gd name="T1" fmla="*/ 1 h 18"/>
                <a:gd name="T2" fmla="*/ 16 w 18"/>
                <a:gd name="T3" fmla="*/ 12 h 18"/>
                <a:gd name="T4" fmla="*/ 5 w 18"/>
                <a:gd name="T5" fmla="*/ 16 h 18"/>
                <a:gd name="T6" fmla="*/ 1 w 18"/>
                <a:gd name="T7" fmla="*/ 5 h 18"/>
                <a:gd name="T8" fmla="*/ 12 w 1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1"/>
                  </a:moveTo>
                  <a:cubicBezTo>
                    <a:pt x="16" y="3"/>
                    <a:pt x="18" y="8"/>
                    <a:pt x="16" y="12"/>
                  </a:cubicBezTo>
                  <a:cubicBezTo>
                    <a:pt x="14" y="16"/>
                    <a:pt x="10" y="18"/>
                    <a:pt x="5" y="16"/>
                  </a:cubicBezTo>
                  <a:cubicBezTo>
                    <a:pt x="1" y="14"/>
                    <a:pt x="0" y="10"/>
                    <a:pt x="1" y="5"/>
                  </a:cubicBezTo>
                  <a:cubicBezTo>
                    <a:pt x="3" y="1"/>
                    <a:pt x="8" y="0"/>
                    <a:pt x="12" y="1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íśḻîḑé"/>
            <p:cNvSpPr/>
            <p:nvPr/>
          </p:nvSpPr>
          <p:spPr bwMode="auto">
            <a:xfrm>
              <a:off x="7408863" y="2951163"/>
              <a:ext cx="277813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íṥ1îḓé"/>
            <p:cNvSpPr/>
            <p:nvPr/>
          </p:nvSpPr>
          <p:spPr bwMode="auto">
            <a:xfrm>
              <a:off x="8024813" y="2613026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íşlíďè"/>
            <p:cNvSpPr/>
            <p:nvPr/>
          </p:nvSpPr>
          <p:spPr bwMode="auto">
            <a:xfrm>
              <a:off x="8039100" y="3260726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8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iṣlide"/>
            <p:cNvSpPr/>
            <p:nvPr/>
          </p:nvSpPr>
          <p:spPr bwMode="auto">
            <a:xfrm>
              <a:off x="9066213" y="2436813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î$ḻiḋé"/>
            <p:cNvSpPr/>
            <p:nvPr/>
          </p:nvSpPr>
          <p:spPr bwMode="auto">
            <a:xfrm>
              <a:off x="8963025" y="1803401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íśḻídé"/>
            <p:cNvSpPr/>
            <p:nvPr/>
          </p:nvSpPr>
          <p:spPr bwMode="auto">
            <a:xfrm>
              <a:off x="4106863" y="3952876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iṡlíḓê"/>
            <p:cNvSpPr/>
            <p:nvPr/>
          </p:nvSpPr>
          <p:spPr bwMode="auto">
            <a:xfrm>
              <a:off x="5075238" y="5394326"/>
              <a:ext cx="190500" cy="236538"/>
            </a:xfrm>
            <a:custGeom>
              <a:avLst/>
              <a:gdLst>
                <a:gd name="T0" fmla="*/ 84 w 120"/>
                <a:gd name="T1" fmla="*/ 0 h 149"/>
                <a:gd name="T2" fmla="*/ 56 w 120"/>
                <a:gd name="T3" fmla="*/ 9 h 149"/>
                <a:gd name="T4" fmla="*/ 65 w 120"/>
                <a:gd name="T5" fmla="*/ 56 h 149"/>
                <a:gd name="T6" fmla="*/ 56 w 120"/>
                <a:gd name="T7" fmla="*/ 74 h 149"/>
                <a:gd name="T8" fmla="*/ 0 w 120"/>
                <a:gd name="T9" fmla="*/ 149 h 149"/>
                <a:gd name="T10" fmla="*/ 120 w 120"/>
                <a:gd name="T11" fmla="*/ 74 h 149"/>
                <a:gd name="T12" fmla="*/ 84 w 120"/>
                <a:gd name="T1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49">
                  <a:moveTo>
                    <a:pt x="84" y="0"/>
                  </a:moveTo>
                  <a:lnTo>
                    <a:pt x="56" y="9"/>
                  </a:lnTo>
                  <a:lnTo>
                    <a:pt x="65" y="56"/>
                  </a:lnTo>
                  <a:lnTo>
                    <a:pt x="56" y="74"/>
                  </a:lnTo>
                  <a:lnTo>
                    <a:pt x="0" y="149"/>
                  </a:lnTo>
                  <a:lnTo>
                    <a:pt x="120" y="7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îSļïḓê"/>
            <p:cNvSpPr/>
            <p:nvPr/>
          </p:nvSpPr>
          <p:spPr bwMode="auto">
            <a:xfrm>
              <a:off x="5208588" y="5335588"/>
              <a:ext cx="204788" cy="192088"/>
            </a:xfrm>
            <a:custGeom>
              <a:avLst/>
              <a:gdLst>
                <a:gd name="T0" fmla="*/ 18 w 129"/>
                <a:gd name="T1" fmla="*/ 0 h 121"/>
                <a:gd name="T2" fmla="*/ 46 w 129"/>
                <a:gd name="T3" fmla="*/ 0 h 121"/>
                <a:gd name="T4" fmla="*/ 46 w 129"/>
                <a:gd name="T5" fmla="*/ 46 h 121"/>
                <a:gd name="T6" fmla="*/ 55 w 129"/>
                <a:gd name="T7" fmla="*/ 56 h 121"/>
                <a:gd name="T8" fmla="*/ 129 w 129"/>
                <a:gd name="T9" fmla="*/ 121 h 121"/>
                <a:gd name="T10" fmla="*/ 0 w 129"/>
                <a:gd name="T11" fmla="*/ 74 h 121"/>
                <a:gd name="T12" fmla="*/ 18 w 129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21">
                  <a:moveTo>
                    <a:pt x="18" y="0"/>
                  </a:moveTo>
                  <a:lnTo>
                    <a:pt x="46" y="0"/>
                  </a:lnTo>
                  <a:lnTo>
                    <a:pt x="46" y="46"/>
                  </a:lnTo>
                  <a:lnTo>
                    <a:pt x="55" y="56"/>
                  </a:lnTo>
                  <a:lnTo>
                    <a:pt x="129" y="121"/>
                  </a:lnTo>
                  <a:lnTo>
                    <a:pt x="0" y="7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íśḷiḋe"/>
            <p:cNvSpPr/>
            <p:nvPr/>
          </p:nvSpPr>
          <p:spPr bwMode="auto">
            <a:xfrm>
              <a:off x="4899025" y="3613151"/>
              <a:ext cx="455613" cy="1855788"/>
            </a:xfrm>
            <a:custGeom>
              <a:avLst/>
              <a:gdLst>
                <a:gd name="T0" fmla="*/ 10 w 287"/>
                <a:gd name="T1" fmla="*/ 0 h 1169"/>
                <a:gd name="T2" fmla="*/ 0 w 287"/>
                <a:gd name="T3" fmla="*/ 612 h 1169"/>
                <a:gd name="T4" fmla="*/ 167 w 287"/>
                <a:gd name="T5" fmla="*/ 1169 h 1169"/>
                <a:gd name="T6" fmla="*/ 222 w 287"/>
                <a:gd name="T7" fmla="*/ 1150 h 1169"/>
                <a:gd name="T8" fmla="*/ 130 w 287"/>
                <a:gd name="T9" fmla="*/ 649 h 1169"/>
                <a:gd name="T10" fmla="*/ 287 w 287"/>
                <a:gd name="T11" fmla="*/ 130 h 1169"/>
                <a:gd name="T12" fmla="*/ 10 w 287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1169">
                  <a:moveTo>
                    <a:pt x="10" y="0"/>
                  </a:moveTo>
                  <a:lnTo>
                    <a:pt x="0" y="612"/>
                  </a:lnTo>
                  <a:lnTo>
                    <a:pt x="167" y="1169"/>
                  </a:lnTo>
                  <a:lnTo>
                    <a:pt x="222" y="1150"/>
                  </a:lnTo>
                  <a:lnTo>
                    <a:pt x="130" y="649"/>
                  </a:lnTo>
                  <a:lnTo>
                    <a:pt x="287" y="13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F0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í$lïdè"/>
            <p:cNvSpPr/>
            <p:nvPr/>
          </p:nvSpPr>
          <p:spPr bwMode="auto">
            <a:xfrm>
              <a:off x="5192713" y="3613151"/>
              <a:ext cx="469900" cy="1781175"/>
            </a:xfrm>
            <a:custGeom>
              <a:avLst/>
              <a:gdLst>
                <a:gd name="T0" fmla="*/ 65 w 296"/>
                <a:gd name="T1" fmla="*/ 112 h 1122"/>
                <a:gd name="T2" fmla="*/ 65 w 296"/>
                <a:gd name="T3" fmla="*/ 631 h 1122"/>
                <a:gd name="T4" fmla="*/ 0 w 296"/>
                <a:gd name="T5" fmla="*/ 1122 h 1122"/>
                <a:gd name="T6" fmla="*/ 65 w 296"/>
                <a:gd name="T7" fmla="*/ 1122 h 1122"/>
                <a:gd name="T8" fmla="*/ 185 w 296"/>
                <a:gd name="T9" fmla="*/ 622 h 1122"/>
                <a:gd name="T10" fmla="*/ 296 w 296"/>
                <a:gd name="T11" fmla="*/ 0 h 1122"/>
                <a:gd name="T12" fmla="*/ 65 w 296"/>
                <a:gd name="T13" fmla="*/ 11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1122">
                  <a:moveTo>
                    <a:pt x="65" y="112"/>
                  </a:moveTo>
                  <a:lnTo>
                    <a:pt x="65" y="631"/>
                  </a:lnTo>
                  <a:lnTo>
                    <a:pt x="0" y="1122"/>
                  </a:lnTo>
                  <a:lnTo>
                    <a:pt x="65" y="1122"/>
                  </a:lnTo>
                  <a:lnTo>
                    <a:pt x="185" y="622"/>
                  </a:lnTo>
                  <a:lnTo>
                    <a:pt x="296" y="0"/>
                  </a:lnTo>
                  <a:lnTo>
                    <a:pt x="65" y="112"/>
                  </a:lnTo>
                  <a:close/>
                </a:path>
              </a:pathLst>
            </a:custGeom>
            <a:solidFill>
              <a:srgbClr val="3512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ïSlíḋè"/>
            <p:cNvSpPr/>
            <p:nvPr/>
          </p:nvSpPr>
          <p:spPr bwMode="auto">
            <a:xfrm>
              <a:off x="6381750" y="3333751"/>
              <a:ext cx="190500" cy="133350"/>
            </a:xfrm>
            <a:custGeom>
              <a:avLst/>
              <a:gdLst>
                <a:gd name="T0" fmla="*/ 0 w 13"/>
                <a:gd name="T1" fmla="*/ 1 h 9"/>
                <a:gd name="T2" fmla="*/ 10 w 13"/>
                <a:gd name="T3" fmla="*/ 1 h 9"/>
                <a:gd name="T4" fmla="*/ 0 w 13"/>
                <a:gd name="T5" fmla="*/ 4 h 9"/>
                <a:gd name="T6" fmla="*/ 0 w 13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9" y="0"/>
                    <a:pt x="10" y="1"/>
                  </a:cubicBezTo>
                  <a:cubicBezTo>
                    <a:pt x="11" y="3"/>
                    <a:pt x="13" y="9"/>
                    <a:pt x="0" y="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8A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ïSḷîdé"/>
            <p:cNvSpPr/>
            <p:nvPr/>
          </p:nvSpPr>
          <p:spPr bwMode="auto">
            <a:xfrm>
              <a:off x="5545138" y="2509838"/>
              <a:ext cx="850900" cy="898525"/>
            </a:xfrm>
            <a:custGeom>
              <a:avLst/>
              <a:gdLst>
                <a:gd name="T0" fmla="*/ 1 w 58"/>
                <a:gd name="T1" fmla="*/ 18 h 61"/>
                <a:gd name="T2" fmla="*/ 5 w 58"/>
                <a:gd name="T3" fmla="*/ 57 h 61"/>
                <a:gd name="T4" fmla="*/ 58 w 58"/>
                <a:gd name="T5" fmla="*/ 61 h 61"/>
                <a:gd name="T6" fmla="*/ 58 w 58"/>
                <a:gd name="T7" fmla="*/ 57 h 61"/>
                <a:gd name="T8" fmla="*/ 18 w 58"/>
                <a:gd name="T9" fmla="*/ 47 h 61"/>
                <a:gd name="T10" fmla="*/ 12 w 58"/>
                <a:gd name="T11" fmla="*/ 12 h 61"/>
                <a:gd name="T12" fmla="*/ 3 w 58"/>
                <a:gd name="T13" fmla="*/ 2 h 61"/>
                <a:gd name="T14" fmla="*/ 1 w 58"/>
                <a:gd name="T15" fmla="*/ 1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1" y="18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1" y="0"/>
                    <a:pt x="3" y="2"/>
                  </a:cubicBezTo>
                  <a:cubicBezTo>
                    <a:pt x="3" y="2"/>
                    <a:pt x="0" y="10"/>
                    <a:pt x="1" y="18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íšḻíḑê"/>
            <p:cNvSpPr/>
            <p:nvPr/>
          </p:nvSpPr>
          <p:spPr bwMode="auto">
            <a:xfrm>
              <a:off x="4856163" y="2465388"/>
              <a:ext cx="909638" cy="1487488"/>
            </a:xfrm>
            <a:custGeom>
              <a:avLst/>
              <a:gdLst>
                <a:gd name="T0" fmla="*/ 22 w 62"/>
                <a:gd name="T1" fmla="*/ 5 h 101"/>
                <a:gd name="T2" fmla="*/ 1 w 62"/>
                <a:gd name="T3" fmla="*/ 22 h 101"/>
                <a:gd name="T4" fmla="*/ 5 w 62"/>
                <a:gd name="T5" fmla="*/ 57 h 101"/>
                <a:gd name="T6" fmla="*/ 4 w 62"/>
                <a:gd name="T7" fmla="*/ 85 h 101"/>
                <a:gd name="T8" fmla="*/ 54 w 62"/>
                <a:gd name="T9" fmla="*/ 83 h 101"/>
                <a:gd name="T10" fmla="*/ 54 w 62"/>
                <a:gd name="T11" fmla="*/ 37 h 101"/>
                <a:gd name="T12" fmla="*/ 53 w 62"/>
                <a:gd name="T13" fmla="*/ 5 h 101"/>
                <a:gd name="T14" fmla="*/ 22 w 62"/>
                <a:gd name="T15" fmla="*/ 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01">
                  <a:moveTo>
                    <a:pt x="22" y="5"/>
                  </a:moveTo>
                  <a:cubicBezTo>
                    <a:pt x="15" y="7"/>
                    <a:pt x="2" y="13"/>
                    <a:pt x="1" y="22"/>
                  </a:cubicBezTo>
                  <a:cubicBezTo>
                    <a:pt x="0" y="32"/>
                    <a:pt x="5" y="57"/>
                    <a:pt x="5" y="57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29" y="101"/>
                    <a:pt x="54" y="83"/>
                  </a:cubicBezTo>
                  <a:cubicBezTo>
                    <a:pt x="54" y="83"/>
                    <a:pt x="53" y="50"/>
                    <a:pt x="54" y="37"/>
                  </a:cubicBezTo>
                  <a:cubicBezTo>
                    <a:pt x="54" y="30"/>
                    <a:pt x="62" y="8"/>
                    <a:pt x="53" y="5"/>
                  </a:cubicBezTo>
                  <a:cubicBezTo>
                    <a:pt x="38" y="0"/>
                    <a:pt x="28" y="3"/>
                    <a:pt x="22" y="5"/>
                  </a:cubicBezTo>
                  <a:close/>
                </a:path>
              </a:pathLst>
            </a:custGeom>
            <a:solidFill>
              <a:srgbClr val="FF2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íṧľïḓê"/>
            <p:cNvSpPr/>
            <p:nvPr/>
          </p:nvSpPr>
          <p:spPr bwMode="auto">
            <a:xfrm>
              <a:off x="5222875" y="2376488"/>
              <a:ext cx="204788" cy="280988"/>
            </a:xfrm>
            <a:custGeom>
              <a:avLst/>
              <a:gdLst>
                <a:gd name="T0" fmla="*/ 2 w 14"/>
                <a:gd name="T1" fmla="*/ 1 h 19"/>
                <a:gd name="T2" fmla="*/ 0 w 14"/>
                <a:gd name="T3" fmla="*/ 11 h 19"/>
                <a:gd name="T4" fmla="*/ 12 w 14"/>
                <a:gd name="T5" fmla="*/ 14 h 19"/>
                <a:gd name="T6" fmla="*/ 9 w 14"/>
                <a:gd name="T7" fmla="*/ 0 h 19"/>
                <a:gd name="T8" fmla="*/ 2 w 14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2" y="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4" y="19"/>
                    <a:pt x="12" y="14"/>
                  </a:cubicBezTo>
                  <a:cubicBezTo>
                    <a:pt x="10" y="9"/>
                    <a:pt x="9" y="0"/>
                    <a:pt x="9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ï$1îďê"/>
            <p:cNvSpPr/>
            <p:nvPr/>
          </p:nvSpPr>
          <p:spPr bwMode="auto">
            <a:xfrm>
              <a:off x="5208588" y="2155826"/>
              <a:ext cx="204788" cy="323850"/>
            </a:xfrm>
            <a:custGeom>
              <a:avLst/>
              <a:gdLst>
                <a:gd name="T0" fmla="*/ 1 w 14"/>
                <a:gd name="T1" fmla="*/ 4 h 22"/>
                <a:gd name="T2" fmla="*/ 1 w 14"/>
                <a:gd name="T3" fmla="*/ 13 h 22"/>
                <a:gd name="T4" fmla="*/ 8 w 14"/>
                <a:gd name="T5" fmla="*/ 21 h 22"/>
                <a:gd name="T6" fmla="*/ 13 w 14"/>
                <a:gd name="T7" fmla="*/ 18 h 22"/>
                <a:gd name="T8" fmla="*/ 8 w 14"/>
                <a:gd name="T9" fmla="*/ 2 h 22"/>
                <a:gd name="T10" fmla="*/ 1 w 14"/>
                <a:gd name="T1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1" y="4"/>
                  </a:moveTo>
                  <a:cubicBezTo>
                    <a:pt x="1" y="6"/>
                    <a:pt x="0" y="10"/>
                    <a:pt x="1" y="13"/>
                  </a:cubicBezTo>
                  <a:cubicBezTo>
                    <a:pt x="3" y="15"/>
                    <a:pt x="5" y="20"/>
                    <a:pt x="8" y="21"/>
                  </a:cubicBezTo>
                  <a:cubicBezTo>
                    <a:pt x="12" y="22"/>
                    <a:pt x="13" y="19"/>
                    <a:pt x="13" y="18"/>
                  </a:cubicBezTo>
                  <a:cubicBezTo>
                    <a:pt x="14" y="15"/>
                    <a:pt x="13" y="4"/>
                    <a:pt x="8" y="2"/>
                  </a:cubicBezTo>
                  <a:cubicBezTo>
                    <a:pt x="4" y="0"/>
                    <a:pt x="2" y="2"/>
                    <a:pt x="1" y="4"/>
                  </a:cubicBez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í$lïḍé"/>
            <p:cNvSpPr/>
            <p:nvPr/>
          </p:nvSpPr>
          <p:spPr bwMode="auto">
            <a:xfrm>
              <a:off x="5178425" y="2127251"/>
              <a:ext cx="176213" cy="249238"/>
            </a:xfrm>
            <a:custGeom>
              <a:avLst/>
              <a:gdLst>
                <a:gd name="T0" fmla="*/ 12 w 12"/>
                <a:gd name="T1" fmla="*/ 5 h 17"/>
                <a:gd name="T2" fmla="*/ 7 w 12"/>
                <a:gd name="T3" fmla="*/ 7 h 17"/>
                <a:gd name="T4" fmla="*/ 4 w 12"/>
                <a:gd name="T5" fmla="*/ 11 h 17"/>
                <a:gd name="T6" fmla="*/ 4 w 12"/>
                <a:gd name="T7" fmla="*/ 16 h 17"/>
                <a:gd name="T8" fmla="*/ 2 w 12"/>
                <a:gd name="T9" fmla="*/ 6 h 17"/>
                <a:gd name="T10" fmla="*/ 12 w 12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12" y="5"/>
                  </a:moveTo>
                  <a:cubicBezTo>
                    <a:pt x="12" y="5"/>
                    <a:pt x="10" y="8"/>
                    <a:pt x="7" y="7"/>
                  </a:cubicBezTo>
                  <a:cubicBezTo>
                    <a:pt x="3" y="7"/>
                    <a:pt x="4" y="10"/>
                    <a:pt x="4" y="11"/>
                  </a:cubicBezTo>
                  <a:cubicBezTo>
                    <a:pt x="4" y="11"/>
                    <a:pt x="5" y="16"/>
                    <a:pt x="4" y="16"/>
                  </a:cubicBezTo>
                  <a:cubicBezTo>
                    <a:pt x="3" y="17"/>
                    <a:pt x="0" y="11"/>
                    <a:pt x="2" y="6"/>
                  </a:cubicBezTo>
                  <a:cubicBezTo>
                    <a:pt x="3" y="2"/>
                    <a:pt x="10" y="0"/>
                    <a:pt x="12" y="5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î$ḻidé"/>
            <p:cNvSpPr/>
            <p:nvPr/>
          </p:nvSpPr>
          <p:spPr bwMode="auto">
            <a:xfrm>
              <a:off x="5251450" y="2333626"/>
              <a:ext cx="176213" cy="146050"/>
            </a:xfrm>
            <a:custGeom>
              <a:avLst/>
              <a:gdLst>
                <a:gd name="T0" fmla="*/ 0 w 12"/>
                <a:gd name="T1" fmla="*/ 4 h 10"/>
                <a:gd name="T2" fmla="*/ 8 w 12"/>
                <a:gd name="T3" fmla="*/ 6 h 10"/>
                <a:gd name="T4" fmla="*/ 11 w 12"/>
                <a:gd name="T5" fmla="*/ 1 h 10"/>
                <a:gd name="T6" fmla="*/ 7 w 12"/>
                <a:gd name="T7" fmla="*/ 9 h 10"/>
                <a:gd name="T8" fmla="*/ 0 w 12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4"/>
                  </a:moveTo>
                  <a:cubicBezTo>
                    <a:pt x="0" y="4"/>
                    <a:pt x="4" y="7"/>
                    <a:pt x="8" y="6"/>
                  </a:cubicBezTo>
                  <a:cubicBezTo>
                    <a:pt x="10" y="6"/>
                    <a:pt x="11" y="2"/>
                    <a:pt x="11" y="1"/>
                  </a:cubicBezTo>
                  <a:cubicBezTo>
                    <a:pt x="10" y="0"/>
                    <a:pt x="12" y="8"/>
                    <a:pt x="7" y="9"/>
                  </a:cubicBezTo>
                  <a:cubicBezTo>
                    <a:pt x="2" y="1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iš1iḓè"/>
            <p:cNvSpPr/>
            <p:nvPr/>
          </p:nvSpPr>
          <p:spPr bwMode="auto">
            <a:xfrm>
              <a:off x="5164138" y="2936876"/>
              <a:ext cx="1819275" cy="1030288"/>
            </a:xfrm>
            <a:custGeom>
              <a:avLst/>
              <a:gdLst>
                <a:gd name="T0" fmla="*/ 1146 w 1146"/>
                <a:gd name="T1" fmla="*/ 139 h 649"/>
                <a:gd name="T2" fmla="*/ 64 w 1146"/>
                <a:gd name="T3" fmla="*/ 649 h 649"/>
                <a:gd name="T4" fmla="*/ 0 w 1146"/>
                <a:gd name="T5" fmla="*/ 500 h 649"/>
                <a:gd name="T6" fmla="*/ 1081 w 1146"/>
                <a:gd name="T7" fmla="*/ 0 h 649"/>
                <a:gd name="T8" fmla="*/ 1146 w 1146"/>
                <a:gd name="T9" fmla="*/ 13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649">
                  <a:moveTo>
                    <a:pt x="1146" y="139"/>
                  </a:moveTo>
                  <a:lnTo>
                    <a:pt x="64" y="649"/>
                  </a:lnTo>
                  <a:lnTo>
                    <a:pt x="0" y="500"/>
                  </a:lnTo>
                  <a:lnTo>
                    <a:pt x="1081" y="0"/>
                  </a:lnTo>
                  <a:lnTo>
                    <a:pt x="1146" y="139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ísḷíḑè"/>
            <p:cNvSpPr/>
            <p:nvPr/>
          </p:nvSpPr>
          <p:spPr bwMode="auto">
            <a:xfrm>
              <a:off x="5559425" y="3613151"/>
              <a:ext cx="176213" cy="147638"/>
            </a:xfrm>
            <a:custGeom>
              <a:avLst/>
              <a:gdLst>
                <a:gd name="T0" fmla="*/ 1 w 12"/>
                <a:gd name="T1" fmla="*/ 0 h 10"/>
                <a:gd name="T2" fmla="*/ 11 w 12"/>
                <a:gd name="T3" fmla="*/ 2 h 10"/>
                <a:gd name="T4" fmla="*/ 0 w 12"/>
                <a:gd name="T5" fmla="*/ 3 h 10"/>
                <a:gd name="T6" fmla="*/ 1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" y="0"/>
                  </a:moveTo>
                  <a:cubicBezTo>
                    <a:pt x="1" y="0"/>
                    <a:pt x="10" y="0"/>
                    <a:pt x="11" y="2"/>
                  </a:cubicBezTo>
                  <a:cubicBezTo>
                    <a:pt x="12" y="3"/>
                    <a:pt x="12" y="10"/>
                    <a:pt x="0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išlíḓê"/>
            <p:cNvSpPr/>
            <p:nvPr/>
          </p:nvSpPr>
          <p:spPr bwMode="auto">
            <a:xfrm>
              <a:off x="4811713" y="2627313"/>
              <a:ext cx="777875" cy="1044575"/>
            </a:xfrm>
            <a:custGeom>
              <a:avLst/>
              <a:gdLst>
                <a:gd name="T0" fmla="*/ 2 w 53"/>
                <a:gd name="T1" fmla="*/ 19 h 71"/>
                <a:gd name="T2" fmla="*/ 0 w 53"/>
                <a:gd name="T3" fmla="*/ 58 h 71"/>
                <a:gd name="T4" fmla="*/ 52 w 53"/>
                <a:gd name="T5" fmla="*/ 71 h 71"/>
                <a:gd name="T6" fmla="*/ 53 w 53"/>
                <a:gd name="T7" fmla="*/ 67 h 71"/>
                <a:gd name="T8" fmla="*/ 15 w 53"/>
                <a:gd name="T9" fmla="*/ 51 h 71"/>
                <a:gd name="T10" fmla="*/ 15 w 53"/>
                <a:gd name="T11" fmla="*/ 15 h 71"/>
                <a:gd name="T12" fmla="*/ 8 w 53"/>
                <a:gd name="T13" fmla="*/ 4 h 71"/>
                <a:gd name="T14" fmla="*/ 2 w 53"/>
                <a:gd name="T15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71">
                  <a:moveTo>
                    <a:pt x="2" y="19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0"/>
                    <a:pt x="8" y="4"/>
                  </a:cubicBezTo>
                  <a:cubicBezTo>
                    <a:pt x="4" y="5"/>
                    <a:pt x="3" y="11"/>
                    <a:pt x="2" y="19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ís1ïdê"/>
            <p:cNvSpPr/>
            <p:nvPr/>
          </p:nvSpPr>
          <p:spPr bwMode="auto">
            <a:xfrm>
              <a:off x="6880225" y="2936876"/>
              <a:ext cx="307975" cy="220663"/>
            </a:xfrm>
            <a:custGeom>
              <a:avLst/>
              <a:gdLst>
                <a:gd name="T0" fmla="*/ 0 w 194"/>
                <a:gd name="T1" fmla="*/ 0 h 139"/>
                <a:gd name="T2" fmla="*/ 194 w 194"/>
                <a:gd name="T3" fmla="*/ 0 h 139"/>
                <a:gd name="T4" fmla="*/ 65 w 194"/>
                <a:gd name="T5" fmla="*/ 139 h 139"/>
                <a:gd name="T6" fmla="*/ 0 w 194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139">
                  <a:moveTo>
                    <a:pt x="0" y="0"/>
                  </a:moveTo>
                  <a:lnTo>
                    <a:pt x="194" y="0"/>
                  </a:lnTo>
                  <a:lnTo>
                    <a:pt x="65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custDataLst>
      <p:tags r:id="rId3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接连接符 12"/>
          <p:cNvCxnSpPr>
            <a:stCxn id="18" idx="7"/>
            <a:endCxn id="16" idx="3"/>
          </p:cNvCxnSpPr>
          <p:nvPr/>
        </p:nvCxnSpPr>
        <p:spPr>
          <a:xfrm flipV="1">
            <a:off x="5185373" y="2844704"/>
            <a:ext cx="1821252" cy="19418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îŝ1îḍè"/>
          <p:cNvSpPr/>
          <p:nvPr/>
        </p:nvSpPr>
        <p:spPr bwMode="auto">
          <a:xfrm>
            <a:off x="4244470" y="1902321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5" name="i$ļïḑé"/>
          <p:cNvSpPr/>
          <p:nvPr/>
        </p:nvSpPr>
        <p:spPr>
          <a:xfrm>
            <a:off x="4557371" y="220986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6" name="îšḷïḋè"/>
          <p:cNvSpPr/>
          <p:nvPr/>
        </p:nvSpPr>
        <p:spPr bwMode="auto">
          <a:xfrm>
            <a:off x="6845193" y="1902321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7" name="ïṧ1îḍê"/>
          <p:cNvSpPr/>
          <p:nvPr/>
        </p:nvSpPr>
        <p:spPr>
          <a:xfrm>
            <a:off x="7158093" y="220986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8" name="išlïḍe"/>
          <p:cNvSpPr/>
          <p:nvPr/>
        </p:nvSpPr>
        <p:spPr bwMode="auto">
          <a:xfrm>
            <a:off x="4244470" y="4624840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9" name="îṡļídè"/>
          <p:cNvSpPr/>
          <p:nvPr/>
        </p:nvSpPr>
        <p:spPr>
          <a:xfrm>
            <a:off x="4557371" y="493238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0" name="iṥḷíḓè"/>
          <p:cNvSpPr/>
          <p:nvPr/>
        </p:nvSpPr>
        <p:spPr bwMode="auto">
          <a:xfrm>
            <a:off x="6845193" y="4624840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1" name="íṡļiďè"/>
          <p:cNvSpPr/>
          <p:nvPr/>
        </p:nvSpPr>
        <p:spPr>
          <a:xfrm>
            <a:off x="7158093" y="493238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cxnSp>
        <p:nvCxnSpPr>
          <p:cNvPr id="22" name="直接连接符 21"/>
          <p:cNvCxnSpPr>
            <a:stCxn id="14" idx="5"/>
            <a:endCxn id="20" idx="1"/>
          </p:cNvCxnSpPr>
          <p:nvPr/>
        </p:nvCxnSpPr>
        <p:spPr>
          <a:xfrm>
            <a:off x="5185373" y="2844704"/>
            <a:ext cx="1821252" cy="19418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ï$lïḓê"/>
          <p:cNvSpPr/>
          <p:nvPr/>
        </p:nvSpPr>
        <p:spPr bwMode="auto">
          <a:xfrm>
            <a:off x="5345811" y="3064249"/>
            <a:ext cx="1500375" cy="1502735"/>
          </a:xfrm>
          <a:prstGeom prst="ellipse">
            <a:avLst/>
          </a:pr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id-ID" b="1" dirty="0">
                <a:solidFill>
                  <a:schemeClr val="l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</a:t>
            </a:r>
          </a:p>
        </p:txBody>
      </p:sp>
      <p:sp>
        <p:nvSpPr>
          <p:cNvPr id="5" name="íşliḑé"/>
          <p:cNvSpPr txBox="1"/>
          <p:nvPr/>
        </p:nvSpPr>
        <p:spPr bwMode="auto">
          <a:xfrm>
            <a:off x="1109186" y="1857568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6" name="i$ḷîde"/>
          <p:cNvSpPr/>
          <p:nvPr/>
        </p:nvSpPr>
        <p:spPr bwMode="auto">
          <a:xfrm>
            <a:off x="1109186" y="2263636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7" name="iṡḷíḓê"/>
          <p:cNvSpPr txBox="1"/>
          <p:nvPr/>
        </p:nvSpPr>
        <p:spPr bwMode="auto">
          <a:xfrm>
            <a:off x="8359108" y="1857568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8" name="îś1îḋe"/>
          <p:cNvSpPr/>
          <p:nvPr/>
        </p:nvSpPr>
        <p:spPr bwMode="auto">
          <a:xfrm>
            <a:off x="8359108" y="2263636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9" name="íşḻîďe"/>
          <p:cNvSpPr txBox="1"/>
          <p:nvPr/>
        </p:nvSpPr>
        <p:spPr bwMode="auto">
          <a:xfrm>
            <a:off x="1109186" y="4347375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0" name="ïšļîďe"/>
          <p:cNvSpPr/>
          <p:nvPr/>
        </p:nvSpPr>
        <p:spPr bwMode="auto">
          <a:xfrm>
            <a:off x="1109186" y="4753443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1" name="isḻiḍé"/>
          <p:cNvSpPr txBox="1"/>
          <p:nvPr/>
        </p:nvSpPr>
        <p:spPr bwMode="auto">
          <a:xfrm>
            <a:off x="8359108" y="4347375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2" name="îšlîdé"/>
          <p:cNvSpPr/>
          <p:nvPr/>
        </p:nvSpPr>
        <p:spPr bwMode="auto">
          <a:xfrm>
            <a:off x="8359108" y="4753443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grpSp>
        <p:nvGrpSpPr>
          <p:cNvPr id="26" name="组合 25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27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8" name="矩形 27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ísļíḓè"/>
          <p:cNvSpPr/>
          <p:nvPr/>
        </p:nvSpPr>
        <p:spPr>
          <a:xfrm>
            <a:off x="7579737" y="1672786"/>
            <a:ext cx="3003066" cy="3003062"/>
          </a:xfrm>
          <a:prstGeom prst="roundRect">
            <a:avLst>
              <a:gd name="adj" fmla="val 6455"/>
            </a:avLst>
          </a:pr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 dirty="0">
              <a:latin typeface="仓耳青禾体-谷力 W05" panose="02020400000000000000" pitchFamily="18" charset="-122"/>
            </a:endParaRPr>
          </a:p>
        </p:txBody>
      </p:sp>
      <p:sp>
        <p:nvSpPr>
          <p:cNvPr id="21" name="ïSḻíḋé"/>
          <p:cNvSpPr/>
          <p:nvPr/>
        </p:nvSpPr>
        <p:spPr>
          <a:xfrm>
            <a:off x="8341598" y="4152692"/>
            <a:ext cx="1336452" cy="13364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sz="5400" dirty="0">
              <a:solidFill>
                <a:schemeClr val="tx1">
                  <a:lumMod val="75000"/>
                  <a:lumOff val="25000"/>
                </a:schemeClr>
              </a:solidFill>
              <a:latin typeface="仓耳青禾体-谷力 W05" panose="02020400000000000000" pitchFamily="18" charset="-122"/>
            </a:endParaRPr>
          </a:p>
        </p:txBody>
      </p:sp>
      <p:sp>
        <p:nvSpPr>
          <p:cNvPr id="22" name="îṧ1îdè"/>
          <p:cNvSpPr/>
          <p:nvPr/>
        </p:nvSpPr>
        <p:spPr bwMode="auto">
          <a:xfrm>
            <a:off x="8619791" y="4467368"/>
            <a:ext cx="780067" cy="707099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íSlîďe"/>
          <p:cNvSpPr/>
          <p:nvPr/>
        </p:nvSpPr>
        <p:spPr>
          <a:xfrm>
            <a:off x="1609197" y="1672786"/>
            <a:ext cx="3003066" cy="3003062"/>
          </a:xfrm>
          <a:prstGeom prst="roundRect">
            <a:avLst>
              <a:gd name="adj" fmla="val 6455"/>
            </a:avLst>
          </a:prstGeom>
          <a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 dirty="0">
              <a:latin typeface="仓耳青禾体-谷力 W05" panose="02020400000000000000" pitchFamily="18" charset="-122"/>
            </a:endParaRPr>
          </a:p>
        </p:txBody>
      </p:sp>
      <p:sp>
        <p:nvSpPr>
          <p:cNvPr id="18" name="íSļíḋè"/>
          <p:cNvSpPr/>
          <p:nvPr/>
        </p:nvSpPr>
        <p:spPr>
          <a:xfrm>
            <a:off x="2371058" y="4152692"/>
            <a:ext cx="1336452" cy="13364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sz="5400" dirty="0">
              <a:solidFill>
                <a:schemeClr val="tx1">
                  <a:lumMod val="75000"/>
                  <a:lumOff val="25000"/>
                </a:schemeClr>
              </a:solidFill>
              <a:latin typeface="仓耳青禾体-谷力 W05" panose="02020400000000000000" pitchFamily="18" charset="-122"/>
            </a:endParaRPr>
          </a:p>
        </p:txBody>
      </p:sp>
      <p:sp>
        <p:nvSpPr>
          <p:cNvPr id="19" name="íṩḷidê"/>
          <p:cNvSpPr/>
          <p:nvPr/>
        </p:nvSpPr>
        <p:spPr bwMode="auto">
          <a:xfrm>
            <a:off x="2649251" y="4467368"/>
            <a:ext cx="780067" cy="707099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íś1ïḑè"/>
          <p:cNvSpPr/>
          <p:nvPr/>
        </p:nvSpPr>
        <p:spPr>
          <a:xfrm>
            <a:off x="4296840" y="1448973"/>
            <a:ext cx="3598320" cy="3598319"/>
          </a:xfrm>
          <a:prstGeom prst="roundRect">
            <a:avLst>
              <a:gd name="adj" fmla="val 6455"/>
            </a:avLst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 dirty="0">
              <a:latin typeface="三极准柔宋" panose="00000500000000000000" pitchFamily="2" charset="-122"/>
              <a:ea typeface="三极准柔宋" panose="00000500000000000000" pitchFamily="2" charset="-122"/>
              <a:cs typeface="Open Sans" panose="020B0606030504020204" charset="0"/>
            </a:endParaRPr>
          </a:p>
        </p:txBody>
      </p:sp>
      <p:sp>
        <p:nvSpPr>
          <p:cNvPr id="15" name="íṧḻíḍe"/>
          <p:cNvSpPr txBox="1"/>
          <p:nvPr/>
        </p:nvSpPr>
        <p:spPr>
          <a:xfrm>
            <a:off x="1753487" y="5690446"/>
            <a:ext cx="2714484" cy="54156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6" name="ïSḷîḋe"/>
          <p:cNvSpPr/>
          <p:nvPr/>
        </p:nvSpPr>
        <p:spPr>
          <a:xfrm>
            <a:off x="1753487" y="5292490"/>
            <a:ext cx="2714484" cy="397957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 fontScale="92500" lnSpcReduction="10000"/>
          </a:bodyPr>
          <a:lstStyle/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3" name="îšlîḋê"/>
          <p:cNvSpPr txBox="1"/>
          <p:nvPr/>
        </p:nvSpPr>
        <p:spPr>
          <a:xfrm>
            <a:off x="7652582" y="5690446"/>
            <a:ext cx="2714484" cy="54156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4" name="îṡḷídê"/>
          <p:cNvSpPr/>
          <p:nvPr/>
        </p:nvSpPr>
        <p:spPr>
          <a:xfrm>
            <a:off x="7652582" y="5292490"/>
            <a:ext cx="2714484" cy="397957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 fontScale="92500" lnSpcReduction="10000"/>
          </a:bodyPr>
          <a:lstStyle/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9" name="îṣļídê"/>
          <p:cNvSpPr/>
          <p:nvPr/>
        </p:nvSpPr>
        <p:spPr bwMode="auto">
          <a:xfrm>
            <a:off x="5823980" y="2002118"/>
            <a:ext cx="544040" cy="642956"/>
          </a:xfrm>
          <a:custGeom>
            <a:avLst/>
            <a:gdLst/>
            <a:ahLst/>
            <a:cxnLst>
              <a:cxn ang="0">
                <a:pos x="250" y="250"/>
              </a:cxn>
              <a:cxn ang="0">
                <a:pos x="125" y="296"/>
              </a:cxn>
              <a:cxn ang="0">
                <a:pos x="0" y="250"/>
              </a:cxn>
              <a:cxn ang="0">
                <a:pos x="66" y="210"/>
              </a:cxn>
              <a:cxn ang="0">
                <a:pos x="79" y="219"/>
              </a:cxn>
              <a:cxn ang="0">
                <a:pos x="70" y="232"/>
              </a:cxn>
              <a:cxn ang="0">
                <a:pos x="23" y="251"/>
              </a:cxn>
              <a:cxn ang="0">
                <a:pos x="125" y="273"/>
              </a:cxn>
              <a:cxn ang="0">
                <a:pos x="228" y="250"/>
              </a:cxn>
              <a:cxn ang="0">
                <a:pos x="180" y="232"/>
              </a:cxn>
              <a:cxn ang="0">
                <a:pos x="171" y="219"/>
              </a:cxn>
              <a:cxn ang="0">
                <a:pos x="184" y="210"/>
              </a:cxn>
              <a:cxn ang="0">
                <a:pos x="250" y="250"/>
              </a:cxn>
              <a:cxn ang="0">
                <a:pos x="80" y="182"/>
              </a:cxn>
              <a:cxn ang="0">
                <a:pos x="91" y="182"/>
              </a:cxn>
              <a:cxn ang="0">
                <a:pos x="91" y="250"/>
              </a:cxn>
              <a:cxn ang="0">
                <a:pos x="102" y="262"/>
              </a:cxn>
              <a:cxn ang="0">
                <a:pos x="148" y="262"/>
              </a:cxn>
              <a:cxn ang="0">
                <a:pos x="159" y="250"/>
              </a:cxn>
              <a:cxn ang="0">
                <a:pos x="159" y="182"/>
              </a:cxn>
              <a:cxn ang="0">
                <a:pos x="171" y="182"/>
              </a:cxn>
              <a:cxn ang="0">
                <a:pos x="182" y="171"/>
              </a:cxn>
              <a:cxn ang="0">
                <a:pos x="182" y="102"/>
              </a:cxn>
              <a:cxn ang="0">
                <a:pos x="157" y="82"/>
              </a:cxn>
              <a:cxn ang="0">
                <a:pos x="125" y="80"/>
              </a:cxn>
              <a:cxn ang="0">
                <a:pos x="93" y="82"/>
              </a:cxn>
              <a:cxn ang="0">
                <a:pos x="68" y="102"/>
              </a:cxn>
              <a:cxn ang="0">
                <a:pos x="68" y="171"/>
              </a:cxn>
              <a:cxn ang="0">
                <a:pos x="80" y="182"/>
              </a:cxn>
              <a:cxn ang="0">
                <a:pos x="125" y="68"/>
              </a:cxn>
              <a:cxn ang="0">
                <a:pos x="159" y="34"/>
              </a:cxn>
              <a:cxn ang="0">
                <a:pos x="125" y="0"/>
              </a:cxn>
              <a:cxn ang="0">
                <a:pos x="91" y="34"/>
              </a:cxn>
              <a:cxn ang="0">
                <a:pos x="125" y="68"/>
              </a:cxn>
              <a:cxn ang="0">
                <a:pos x="125" y="68"/>
              </a:cxn>
              <a:cxn ang="0">
                <a:pos x="125" y="68"/>
              </a:cxn>
            </a:cxnLst>
            <a:rect l="0" t="0" r="r" b="b"/>
            <a:pathLst>
              <a:path w="250" h="296">
                <a:moveTo>
                  <a:pt x="250" y="250"/>
                </a:moveTo>
                <a:cubicBezTo>
                  <a:pt x="250" y="282"/>
                  <a:pt x="185" y="296"/>
                  <a:pt x="125" y="296"/>
                </a:cubicBezTo>
                <a:cubicBezTo>
                  <a:pt x="65" y="296"/>
                  <a:pt x="0" y="282"/>
                  <a:pt x="0" y="250"/>
                </a:cubicBezTo>
                <a:cubicBezTo>
                  <a:pt x="0" y="226"/>
                  <a:pt x="36" y="215"/>
                  <a:pt x="66" y="210"/>
                </a:cubicBezTo>
                <a:cubicBezTo>
                  <a:pt x="72" y="209"/>
                  <a:pt x="78" y="213"/>
                  <a:pt x="79" y="219"/>
                </a:cubicBezTo>
                <a:cubicBezTo>
                  <a:pt x="80" y="225"/>
                  <a:pt x="76" y="231"/>
                  <a:pt x="70" y="232"/>
                </a:cubicBezTo>
                <a:cubicBezTo>
                  <a:pt x="33" y="239"/>
                  <a:pt x="23" y="249"/>
                  <a:pt x="23" y="251"/>
                </a:cubicBezTo>
                <a:cubicBezTo>
                  <a:pt x="24" y="257"/>
                  <a:pt x="58" y="273"/>
                  <a:pt x="125" y="273"/>
                </a:cubicBezTo>
                <a:cubicBezTo>
                  <a:pt x="192" y="273"/>
                  <a:pt x="226" y="257"/>
                  <a:pt x="228" y="250"/>
                </a:cubicBezTo>
                <a:cubicBezTo>
                  <a:pt x="227" y="249"/>
                  <a:pt x="217" y="238"/>
                  <a:pt x="180" y="232"/>
                </a:cubicBezTo>
                <a:cubicBezTo>
                  <a:pt x="174" y="231"/>
                  <a:pt x="170" y="225"/>
                  <a:pt x="171" y="219"/>
                </a:cubicBezTo>
                <a:cubicBezTo>
                  <a:pt x="172" y="213"/>
                  <a:pt x="178" y="209"/>
                  <a:pt x="184" y="210"/>
                </a:cubicBezTo>
                <a:cubicBezTo>
                  <a:pt x="214" y="215"/>
                  <a:pt x="250" y="226"/>
                  <a:pt x="250" y="250"/>
                </a:cubicBezTo>
                <a:close/>
                <a:moveTo>
                  <a:pt x="80" y="182"/>
                </a:moveTo>
                <a:cubicBezTo>
                  <a:pt x="91" y="182"/>
                  <a:pt x="91" y="182"/>
                  <a:pt x="91" y="182"/>
                </a:cubicBezTo>
                <a:cubicBezTo>
                  <a:pt x="91" y="250"/>
                  <a:pt x="91" y="250"/>
                  <a:pt x="91" y="250"/>
                </a:cubicBezTo>
                <a:cubicBezTo>
                  <a:pt x="91" y="257"/>
                  <a:pt x="96" y="262"/>
                  <a:pt x="102" y="262"/>
                </a:cubicBezTo>
                <a:cubicBezTo>
                  <a:pt x="148" y="262"/>
                  <a:pt x="148" y="262"/>
                  <a:pt x="148" y="262"/>
                </a:cubicBezTo>
                <a:cubicBezTo>
                  <a:pt x="154" y="262"/>
                  <a:pt x="159" y="257"/>
                  <a:pt x="159" y="250"/>
                </a:cubicBezTo>
                <a:cubicBezTo>
                  <a:pt x="159" y="182"/>
                  <a:pt x="159" y="182"/>
                  <a:pt x="159" y="182"/>
                </a:cubicBezTo>
                <a:cubicBezTo>
                  <a:pt x="171" y="182"/>
                  <a:pt x="171" y="182"/>
                  <a:pt x="171" y="182"/>
                </a:cubicBezTo>
                <a:cubicBezTo>
                  <a:pt x="177" y="182"/>
                  <a:pt x="182" y="177"/>
                  <a:pt x="182" y="171"/>
                </a:cubicBezTo>
                <a:cubicBezTo>
                  <a:pt x="182" y="102"/>
                  <a:pt x="182" y="102"/>
                  <a:pt x="182" y="102"/>
                </a:cubicBezTo>
                <a:cubicBezTo>
                  <a:pt x="182" y="97"/>
                  <a:pt x="173" y="84"/>
                  <a:pt x="157" y="82"/>
                </a:cubicBezTo>
                <a:cubicBezTo>
                  <a:pt x="150" y="81"/>
                  <a:pt x="138" y="80"/>
                  <a:pt x="125" y="80"/>
                </a:cubicBezTo>
                <a:cubicBezTo>
                  <a:pt x="112" y="80"/>
                  <a:pt x="100" y="81"/>
                  <a:pt x="93" y="82"/>
                </a:cubicBezTo>
                <a:cubicBezTo>
                  <a:pt x="77" y="84"/>
                  <a:pt x="68" y="97"/>
                  <a:pt x="68" y="102"/>
                </a:cubicBezTo>
                <a:cubicBezTo>
                  <a:pt x="68" y="171"/>
                  <a:pt x="68" y="171"/>
                  <a:pt x="68" y="171"/>
                </a:cubicBezTo>
                <a:cubicBezTo>
                  <a:pt x="68" y="177"/>
                  <a:pt x="73" y="182"/>
                  <a:pt x="80" y="182"/>
                </a:cubicBezTo>
                <a:close/>
                <a:moveTo>
                  <a:pt x="125" y="68"/>
                </a:moveTo>
                <a:cubicBezTo>
                  <a:pt x="144" y="68"/>
                  <a:pt x="159" y="53"/>
                  <a:pt x="159" y="34"/>
                </a:cubicBezTo>
                <a:cubicBezTo>
                  <a:pt x="159" y="15"/>
                  <a:pt x="144" y="0"/>
                  <a:pt x="125" y="0"/>
                </a:cubicBezTo>
                <a:cubicBezTo>
                  <a:pt x="106" y="0"/>
                  <a:pt x="91" y="15"/>
                  <a:pt x="91" y="34"/>
                </a:cubicBezTo>
                <a:cubicBezTo>
                  <a:pt x="91" y="53"/>
                  <a:pt x="106" y="68"/>
                  <a:pt x="125" y="68"/>
                </a:cubicBezTo>
                <a:close/>
                <a:moveTo>
                  <a:pt x="125" y="68"/>
                </a:moveTo>
                <a:cubicBezTo>
                  <a:pt x="125" y="68"/>
                  <a:pt x="125" y="68"/>
                  <a:pt x="125" y="68"/>
                </a:cubicBezTo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latin typeface="仓耳青禾体-谷力 W05" panose="02020400000000000000" pitchFamily="18" charset="-122"/>
            </a:endParaRPr>
          </a:p>
        </p:txBody>
      </p:sp>
      <p:sp>
        <p:nvSpPr>
          <p:cNvPr id="11" name="iŝľïde"/>
          <p:cNvSpPr txBox="1"/>
          <p:nvPr/>
        </p:nvSpPr>
        <p:spPr>
          <a:xfrm>
            <a:off x="4738758" y="3300347"/>
            <a:ext cx="2714484" cy="1126396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endParaRPr lang="en-US" altLang="zh-CN" sz="1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 …</a:t>
            </a:r>
            <a:endParaRPr lang="zh-CN" altLang="en-US" sz="1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2" name="iSḷîḍe"/>
          <p:cNvSpPr/>
          <p:nvPr/>
        </p:nvSpPr>
        <p:spPr>
          <a:xfrm>
            <a:off x="4738758" y="2902391"/>
            <a:ext cx="2714484" cy="397957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24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" name="矩形 24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grpSp>
        <p:nvGrpSpPr>
          <p:cNvPr id="4" name="组合 3"/>
          <p:cNvGrpSpPr/>
          <p:nvPr/>
        </p:nvGrpSpPr>
        <p:grpSpPr>
          <a:xfrm>
            <a:off x="3184451" y="2463918"/>
            <a:ext cx="5592011" cy="1992006"/>
            <a:chOff x="2723242" y="3147470"/>
            <a:chExt cx="5592011" cy="1992006"/>
          </a:xfrm>
        </p:grpSpPr>
        <p:sp>
          <p:nvSpPr>
            <p:cNvPr id="6" name="文本框 5"/>
            <p:cNvSpPr txBox="1"/>
            <p:nvPr/>
          </p:nvSpPr>
          <p:spPr>
            <a:xfrm>
              <a:off x="2723242" y="3147470"/>
              <a:ext cx="2441694" cy="1001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4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总结计划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723242" y="4089821"/>
              <a:ext cx="5592011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8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  <p:sp>
        <p:nvSpPr>
          <p:cNvPr id="10" name="菱形 9"/>
          <p:cNvSpPr/>
          <p:nvPr/>
        </p:nvSpPr>
        <p:spPr>
          <a:xfrm>
            <a:off x="1375687" y="2338397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3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sḻîḓé"/>
          <p:cNvSpPr/>
          <p:nvPr/>
        </p:nvSpPr>
        <p:spPr>
          <a:xfrm>
            <a:off x="0" y="1435100"/>
            <a:ext cx="12192000" cy="2088029"/>
          </a:xfrm>
          <a:prstGeom prst="rect">
            <a:avLst/>
          </a:prstGeom>
          <a:blipFill dpi="0" rotWithShape="1">
            <a:blip r:embed="rId3"/>
            <a:srcRect/>
            <a:tile tx="0" ty="266700" sx="100000" sy="100000" flip="none" algn="b"/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18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5" name="îsľíḑe"/>
          <p:cNvSpPr/>
          <p:nvPr/>
        </p:nvSpPr>
        <p:spPr>
          <a:xfrm>
            <a:off x="5004921" y="3900767"/>
            <a:ext cx="2169459" cy="555812"/>
          </a:xfrm>
          <a:prstGeom prst="roundRect">
            <a:avLst>
              <a:gd name="adj" fmla="val 50000"/>
            </a:avLst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sz="1400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…Text</a:t>
            </a:r>
            <a:endParaRPr lang="id-ID" altLang="zh-CN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60400" y="5390030"/>
            <a:ext cx="10858500" cy="0"/>
          </a:xfrm>
          <a:prstGeom prst="line">
            <a:avLst/>
          </a:prstGeom>
          <a:ln w="635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îṧḷide"/>
          <p:cNvSpPr/>
          <p:nvPr/>
        </p:nvSpPr>
        <p:spPr>
          <a:xfrm>
            <a:off x="1876668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31" name="îSľïḋé"/>
          <p:cNvSpPr/>
          <p:nvPr/>
        </p:nvSpPr>
        <p:spPr>
          <a:xfrm>
            <a:off x="2046995" y="5273623"/>
            <a:ext cx="304804" cy="232812"/>
          </a:xfrm>
          <a:custGeom>
            <a:avLst/>
            <a:gdLst>
              <a:gd name="connsiteX0" fmla="*/ 485230 w 574281"/>
              <a:gd name="connsiteY0" fmla="*/ 162077 h 438642"/>
              <a:gd name="connsiteX1" fmla="*/ 574281 w 574281"/>
              <a:gd name="connsiteY1" fmla="*/ 282448 h 438642"/>
              <a:gd name="connsiteX2" fmla="*/ 532628 w 574281"/>
              <a:gd name="connsiteY2" fmla="*/ 371292 h 438642"/>
              <a:gd name="connsiteX3" fmla="*/ 545555 w 574281"/>
              <a:gd name="connsiteY3" fmla="*/ 438642 h 438642"/>
              <a:gd name="connsiteX4" fmla="*/ 480921 w 574281"/>
              <a:gd name="connsiteY4" fmla="*/ 404251 h 438642"/>
              <a:gd name="connsiteX5" fmla="*/ 393306 w 574281"/>
              <a:gd name="connsiteY5" fmla="*/ 421446 h 438642"/>
              <a:gd name="connsiteX6" fmla="*/ 266910 w 574281"/>
              <a:gd name="connsiteY6" fmla="*/ 382756 h 438642"/>
              <a:gd name="connsiteX7" fmla="*/ 312872 w 574281"/>
              <a:gd name="connsiteY7" fmla="*/ 377024 h 438642"/>
              <a:gd name="connsiteX8" fmla="*/ 393306 w 574281"/>
              <a:gd name="connsiteY8" fmla="*/ 392787 h 438642"/>
              <a:gd name="connsiteX9" fmla="*/ 505338 w 574281"/>
              <a:gd name="connsiteY9" fmla="*/ 358395 h 438642"/>
              <a:gd name="connsiteX10" fmla="*/ 546991 w 574281"/>
              <a:gd name="connsiteY10" fmla="*/ 282448 h 438642"/>
              <a:gd name="connsiteX11" fmla="*/ 505338 w 574281"/>
              <a:gd name="connsiteY11" fmla="*/ 206500 h 438642"/>
              <a:gd name="connsiteX12" fmla="*/ 489539 w 574281"/>
              <a:gd name="connsiteY12" fmla="*/ 196469 h 438642"/>
              <a:gd name="connsiteX13" fmla="*/ 485230 w 574281"/>
              <a:gd name="connsiteY13" fmla="*/ 162077 h 438642"/>
              <a:gd name="connsiteX14" fmla="*/ 347379 w 574281"/>
              <a:gd name="connsiteY14" fmla="*/ 143322 h 438642"/>
              <a:gd name="connsiteX15" fmla="*/ 312928 w 574281"/>
              <a:gd name="connsiteY15" fmla="*/ 177719 h 438642"/>
              <a:gd name="connsiteX16" fmla="*/ 347379 w 574281"/>
              <a:gd name="connsiteY16" fmla="*/ 212117 h 438642"/>
              <a:gd name="connsiteX17" fmla="*/ 381830 w 574281"/>
              <a:gd name="connsiteY17" fmla="*/ 177719 h 438642"/>
              <a:gd name="connsiteX18" fmla="*/ 347379 w 574281"/>
              <a:gd name="connsiteY18" fmla="*/ 143322 h 438642"/>
              <a:gd name="connsiteX19" fmla="*/ 235414 w 574281"/>
              <a:gd name="connsiteY19" fmla="*/ 143322 h 438642"/>
              <a:gd name="connsiteX20" fmla="*/ 200963 w 574281"/>
              <a:gd name="connsiteY20" fmla="*/ 177719 h 438642"/>
              <a:gd name="connsiteX21" fmla="*/ 235414 w 574281"/>
              <a:gd name="connsiteY21" fmla="*/ 212117 h 438642"/>
              <a:gd name="connsiteX22" fmla="*/ 269865 w 574281"/>
              <a:gd name="connsiteY22" fmla="*/ 177719 h 438642"/>
              <a:gd name="connsiteX23" fmla="*/ 235414 w 574281"/>
              <a:gd name="connsiteY23" fmla="*/ 143322 h 438642"/>
              <a:gd name="connsiteX24" fmla="*/ 124884 w 574281"/>
              <a:gd name="connsiteY24" fmla="*/ 143322 h 438642"/>
              <a:gd name="connsiteX25" fmla="*/ 90433 w 574281"/>
              <a:gd name="connsiteY25" fmla="*/ 177719 h 438642"/>
              <a:gd name="connsiteX26" fmla="*/ 124884 w 574281"/>
              <a:gd name="connsiteY26" fmla="*/ 212117 h 438642"/>
              <a:gd name="connsiteX27" fmla="*/ 159335 w 574281"/>
              <a:gd name="connsiteY27" fmla="*/ 177719 h 438642"/>
              <a:gd name="connsiteX28" fmla="*/ 124884 w 574281"/>
              <a:gd name="connsiteY28" fmla="*/ 143322 h 438642"/>
              <a:gd name="connsiteX29" fmla="*/ 235414 w 574281"/>
              <a:gd name="connsiteY29" fmla="*/ 0 h 438642"/>
              <a:gd name="connsiteX30" fmla="*/ 466522 w 574281"/>
              <a:gd name="connsiteY30" fmla="*/ 143322 h 438642"/>
              <a:gd name="connsiteX31" fmla="*/ 470828 w 574281"/>
              <a:gd name="connsiteY31" fmla="*/ 177719 h 438642"/>
              <a:gd name="connsiteX32" fmla="*/ 470828 w 574281"/>
              <a:gd name="connsiteY32" fmla="*/ 182019 h 438642"/>
              <a:gd name="connsiteX33" fmla="*/ 294268 w 574281"/>
              <a:gd name="connsiteY33" fmla="*/ 358305 h 438642"/>
              <a:gd name="connsiteX34" fmla="*/ 248333 w 574281"/>
              <a:gd name="connsiteY34" fmla="*/ 362605 h 438642"/>
              <a:gd name="connsiteX35" fmla="*/ 235414 w 574281"/>
              <a:gd name="connsiteY35" fmla="*/ 364038 h 438642"/>
              <a:gd name="connsiteX36" fmla="*/ 122013 w 574281"/>
              <a:gd name="connsiteY36" fmla="*/ 341106 h 438642"/>
              <a:gd name="connsiteX37" fmla="*/ 35886 w 574281"/>
              <a:gd name="connsiteY37" fmla="*/ 385536 h 438642"/>
              <a:gd name="connsiteX38" fmla="*/ 53112 w 574281"/>
              <a:gd name="connsiteY38" fmla="*/ 298110 h 438642"/>
              <a:gd name="connsiteX39" fmla="*/ 0 w 574281"/>
              <a:gd name="connsiteY39" fmla="*/ 182019 h 438642"/>
              <a:gd name="connsiteX40" fmla="*/ 235414 w 574281"/>
              <a:gd name="connsiteY40" fmla="*/ 0 h 438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74281" h="438642">
                <a:moveTo>
                  <a:pt x="485230" y="162077"/>
                </a:moveTo>
                <a:cubicBezTo>
                  <a:pt x="538373" y="186438"/>
                  <a:pt x="574281" y="230860"/>
                  <a:pt x="574281" y="282448"/>
                </a:cubicBezTo>
                <a:cubicBezTo>
                  <a:pt x="574281" y="315406"/>
                  <a:pt x="558482" y="346932"/>
                  <a:pt x="532628" y="371292"/>
                </a:cubicBezTo>
                <a:lnTo>
                  <a:pt x="545555" y="438642"/>
                </a:lnTo>
                <a:lnTo>
                  <a:pt x="480921" y="404251"/>
                </a:lnTo>
                <a:cubicBezTo>
                  <a:pt x="455067" y="415715"/>
                  <a:pt x="424905" y="421446"/>
                  <a:pt x="393306" y="421446"/>
                </a:cubicBezTo>
                <a:cubicBezTo>
                  <a:pt x="344471" y="421446"/>
                  <a:pt x="299945" y="407117"/>
                  <a:pt x="266910" y="382756"/>
                </a:cubicBezTo>
                <a:cubicBezTo>
                  <a:pt x="282710" y="381323"/>
                  <a:pt x="298509" y="379890"/>
                  <a:pt x="312872" y="377024"/>
                </a:cubicBezTo>
                <a:cubicBezTo>
                  <a:pt x="337289" y="387055"/>
                  <a:pt x="364579" y="392787"/>
                  <a:pt x="393306" y="392787"/>
                </a:cubicBezTo>
                <a:cubicBezTo>
                  <a:pt x="436395" y="392787"/>
                  <a:pt x="475175" y="379890"/>
                  <a:pt x="505338" y="358395"/>
                </a:cubicBezTo>
                <a:cubicBezTo>
                  <a:pt x="532628" y="336901"/>
                  <a:pt x="546991" y="309674"/>
                  <a:pt x="546991" y="282448"/>
                </a:cubicBezTo>
                <a:cubicBezTo>
                  <a:pt x="546991" y="255221"/>
                  <a:pt x="532628" y="227994"/>
                  <a:pt x="505338" y="206500"/>
                </a:cubicBezTo>
                <a:cubicBezTo>
                  <a:pt x="501029" y="203634"/>
                  <a:pt x="495284" y="199335"/>
                  <a:pt x="489539" y="196469"/>
                </a:cubicBezTo>
                <a:cubicBezTo>
                  <a:pt x="489539" y="185005"/>
                  <a:pt x="488102" y="173541"/>
                  <a:pt x="485230" y="162077"/>
                </a:cubicBezTo>
                <a:close/>
                <a:moveTo>
                  <a:pt x="347379" y="143322"/>
                </a:moveTo>
                <a:cubicBezTo>
                  <a:pt x="327283" y="143322"/>
                  <a:pt x="312928" y="159088"/>
                  <a:pt x="312928" y="177719"/>
                </a:cubicBezTo>
                <a:cubicBezTo>
                  <a:pt x="312928" y="196351"/>
                  <a:pt x="327283" y="212117"/>
                  <a:pt x="347379" y="212117"/>
                </a:cubicBezTo>
                <a:cubicBezTo>
                  <a:pt x="366040" y="212117"/>
                  <a:pt x="381830" y="196351"/>
                  <a:pt x="381830" y="177719"/>
                </a:cubicBezTo>
                <a:cubicBezTo>
                  <a:pt x="381830" y="159088"/>
                  <a:pt x="366040" y="143322"/>
                  <a:pt x="347379" y="143322"/>
                </a:cubicBezTo>
                <a:close/>
                <a:moveTo>
                  <a:pt x="235414" y="143322"/>
                </a:moveTo>
                <a:cubicBezTo>
                  <a:pt x="216753" y="143322"/>
                  <a:pt x="200963" y="159088"/>
                  <a:pt x="200963" y="177719"/>
                </a:cubicBezTo>
                <a:cubicBezTo>
                  <a:pt x="200963" y="196351"/>
                  <a:pt x="216753" y="212117"/>
                  <a:pt x="235414" y="212117"/>
                </a:cubicBezTo>
                <a:cubicBezTo>
                  <a:pt x="254075" y="212117"/>
                  <a:pt x="269865" y="196351"/>
                  <a:pt x="269865" y="177719"/>
                </a:cubicBezTo>
                <a:cubicBezTo>
                  <a:pt x="269865" y="159088"/>
                  <a:pt x="254075" y="143322"/>
                  <a:pt x="235414" y="143322"/>
                </a:cubicBezTo>
                <a:close/>
                <a:moveTo>
                  <a:pt x="124884" y="143322"/>
                </a:moveTo>
                <a:cubicBezTo>
                  <a:pt x="106223" y="143322"/>
                  <a:pt x="90433" y="159088"/>
                  <a:pt x="90433" y="177719"/>
                </a:cubicBezTo>
                <a:cubicBezTo>
                  <a:pt x="90433" y="196351"/>
                  <a:pt x="106223" y="212117"/>
                  <a:pt x="124884" y="212117"/>
                </a:cubicBezTo>
                <a:cubicBezTo>
                  <a:pt x="143545" y="212117"/>
                  <a:pt x="159335" y="196351"/>
                  <a:pt x="159335" y="177719"/>
                </a:cubicBezTo>
                <a:cubicBezTo>
                  <a:pt x="159335" y="159088"/>
                  <a:pt x="143545" y="143322"/>
                  <a:pt x="124884" y="143322"/>
                </a:cubicBezTo>
                <a:close/>
                <a:moveTo>
                  <a:pt x="235414" y="0"/>
                </a:moveTo>
                <a:cubicBezTo>
                  <a:pt x="348815" y="0"/>
                  <a:pt x="443555" y="61629"/>
                  <a:pt x="466522" y="143322"/>
                </a:cubicBezTo>
                <a:cubicBezTo>
                  <a:pt x="469393" y="154788"/>
                  <a:pt x="470828" y="166254"/>
                  <a:pt x="470828" y="177719"/>
                </a:cubicBezTo>
                <a:cubicBezTo>
                  <a:pt x="470828" y="179153"/>
                  <a:pt x="470828" y="180586"/>
                  <a:pt x="470828" y="182019"/>
                </a:cubicBezTo>
                <a:cubicBezTo>
                  <a:pt x="470828" y="266579"/>
                  <a:pt x="396185" y="338240"/>
                  <a:pt x="294268" y="358305"/>
                </a:cubicBezTo>
                <a:cubicBezTo>
                  <a:pt x="279913" y="361172"/>
                  <a:pt x="264123" y="362605"/>
                  <a:pt x="248333" y="362605"/>
                </a:cubicBezTo>
                <a:cubicBezTo>
                  <a:pt x="244027" y="364038"/>
                  <a:pt x="239720" y="364038"/>
                  <a:pt x="235414" y="364038"/>
                </a:cubicBezTo>
                <a:cubicBezTo>
                  <a:pt x="195221" y="364038"/>
                  <a:pt x="156464" y="355439"/>
                  <a:pt x="122013" y="341106"/>
                </a:cubicBezTo>
                <a:lnTo>
                  <a:pt x="35886" y="385536"/>
                </a:lnTo>
                <a:lnTo>
                  <a:pt x="53112" y="298110"/>
                </a:lnTo>
                <a:cubicBezTo>
                  <a:pt x="20096" y="266579"/>
                  <a:pt x="0" y="226449"/>
                  <a:pt x="0" y="182019"/>
                </a:cubicBezTo>
                <a:cubicBezTo>
                  <a:pt x="0" y="81694"/>
                  <a:pt x="106223" y="0"/>
                  <a:pt x="2354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9" name="íṧ1ïďè"/>
          <p:cNvSpPr/>
          <p:nvPr/>
        </p:nvSpPr>
        <p:spPr bwMode="auto">
          <a:xfrm>
            <a:off x="1418534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26" name="íṣļïḋê"/>
          <p:cNvSpPr/>
          <p:nvPr/>
        </p:nvSpPr>
        <p:spPr>
          <a:xfrm>
            <a:off x="3821795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7" name="í$liḑè"/>
          <p:cNvSpPr/>
          <p:nvPr/>
        </p:nvSpPr>
        <p:spPr>
          <a:xfrm>
            <a:off x="3992121" y="5261716"/>
            <a:ext cx="304804" cy="256627"/>
          </a:xfrm>
          <a:custGeom>
            <a:avLst/>
            <a:gdLst>
              <a:gd name="connsiteX0" fmla="*/ 54158 w 604539"/>
              <a:gd name="connsiteY0" fmla="*/ 287695 h 508988"/>
              <a:gd name="connsiteX1" fmla="*/ 242194 w 604539"/>
              <a:gd name="connsiteY1" fmla="*/ 287695 h 508988"/>
              <a:gd name="connsiteX2" fmla="*/ 264990 w 604539"/>
              <a:gd name="connsiteY2" fmla="*/ 306729 h 508988"/>
              <a:gd name="connsiteX3" fmla="*/ 295264 w 604539"/>
              <a:gd name="connsiteY3" fmla="*/ 478149 h 508988"/>
              <a:gd name="connsiteX4" fmla="*/ 296591 w 604539"/>
              <a:gd name="connsiteY4" fmla="*/ 485739 h 508988"/>
              <a:gd name="connsiteX5" fmla="*/ 273433 w 604539"/>
              <a:gd name="connsiteY5" fmla="*/ 508988 h 508988"/>
              <a:gd name="connsiteX6" fmla="*/ 273071 w 604539"/>
              <a:gd name="connsiteY6" fmla="*/ 508988 h 508988"/>
              <a:gd name="connsiteX7" fmla="*/ 23160 w 604539"/>
              <a:gd name="connsiteY7" fmla="*/ 508988 h 508988"/>
              <a:gd name="connsiteX8" fmla="*/ 5430 w 604539"/>
              <a:gd name="connsiteY8" fmla="*/ 500676 h 508988"/>
              <a:gd name="connsiteX9" fmla="*/ 364 w 604539"/>
              <a:gd name="connsiteY9" fmla="*/ 481763 h 508988"/>
              <a:gd name="connsiteX10" fmla="*/ 31241 w 604539"/>
              <a:gd name="connsiteY10" fmla="*/ 306729 h 508988"/>
              <a:gd name="connsiteX11" fmla="*/ 54158 w 604539"/>
              <a:gd name="connsiteY11" fmla="*/ 287695 h 508988"/>
              <a:gd name="connsiteX12" fmla="*/ 362106 w 604539"/>
              <a:gd name="connsiteY12" fmla="*/ 287554 h 508988"/>
              <a:gd name="connsiteX13" fmla="*/ 550142 w 604539"/>
              <a:gd name="connsiteY13" fmla="*/ 287554 h 508988"/>
              <a:gd name="connsiteX14" fmla="*/ 572938 w 604539"/>
              <a:gd name="connsiteY14" fmla="*/ 306710 h 508988"/>
              <a:gd name="connsiteX15" fmla="*/ 603212 w 604539"/>
              <a:gd name="connsiteY15" fmla="*/ 478147 h 508988"/>
              <a:gd name="connsiteX16" fmla="*/ 604539 w 604539"/>
              <a:gd name="connsiteY16" fmla="*/ 485736 h 508988"/>
              <a:gd name="connsiteX17" fmla="*/ 581381 w 604539"/>
              <a:gd name="connsiteY17" fmla="*/ 508988 h 508988"/>
              <a:gd name="connsiteX18" fmla="*/ 581019 w 604539"/>
              <a:gd name="connsiteY18" fmla="*/ 508988 h 508988"/>
              <a:gd name="connsiteX19" fmla="*/ 331108 w 604539"/>
              <a:gd name="connsiteY19" fmla="*/ 508988 h 508988"/>
              <a:gd name="connsiteX20" fmla="*/ 313378 w 604539"/>
              <a:gd name="connsiteY20" fmla="*/ 500675 h 508988"/>
              <a:gd name="connsiteX21" fmla="*/ 308312 w 604539"/>
              <a:gd name="connsiteY21" fmla="*/ 481761 h 508988"/>
              <a:gd name="connsiteX22" fmla="*/ 339189 w 604539"/>
              <a:gd name="connsiteY22" fmla="*/ 306710 h 508988"/>
              <a:gd name="connsiteX23" fmla="*/ 362106 w 604539"/>
              <a:gd name="connsiteY23" fmla="*/ 287554 h 508988"/>
              <a:gd name="connsiteX24" fmla="*/ 208081 w 604539"/>
              <a:gd name="connsiteY24" fmla="*/ 54053 h 508988"/>
              <a:gd name="connsiteX25" fmla="*/ 396118 w 604539"/>
              <a:gd name="connsiteY25" fmla="*/ 54053 h 508988"/>
              <a:gd name="connsiteX26" fmla="*/ 419034 w 604539"/>
              <a:gd name="connsiteY26" fmla="*/ 73201 h 508988"/>
              <a:gd name="connsiteX27" fmla="*/ 449308 w 604539"/>
              <a:gd name="connsiteY27" fmla="*/ 244446 h 508988"/>
              <a:gd name="connsiteX28" fmla="*/ 450635 w 604539"/>
              <a:gd name="connsiteY28" fmla="*/ 252154 h 508988"/>
              <a:gd name="connsiteX29" fmla="*/ 427357 w 604539"/>
              <a:gd name="connsiteY29" fmla="*/ 275275 h 508988"/>
              <a:gd name="connsiteX30" fmla="*/ 427115 w 604539"/>
              <a:gd name="connsiteY30" fmla="*/ 275275 h 508988"/>
              <a:gd name="connsiteX31" fmla="*/ 177204 w 604539"/>
              <a:gd name="connsiteY31" fmla="*/ 275275 h 508988"/>
              <a:gd name="connsiteX32" fmla="*/ 159353 w 604539"/>
              <a:gd name="connsiteY32" fmla="*/ 266966 h 508988"/>
              <a:gd name="connsiteX33" fmla="*/ 154288 w 604539"/>
              <a:gd name="connsiteY33" fmla="*/ 248059 h 508988"/>
              <a:gd name="connsiteX34" fmla="*/ 185285 w 604539"/>
              <a:gd name="connsiteY34" fmla="*/ 73201 h 508988"/>
              <a:gd name="connsiteX35" fmla="*/ 208081 w 604539"/>
              <a:gd name="connsiteY35" fmla="*/ 54053 h 508988"/>
              <a:gd name="connsiteX36" fmla="*/ 518273 w 604539"/>
              <a:gd name="connsiteY36" fmla="*/ 0 h 508988"/>
              <a:gd name="connsiteX37" fmla="*/ 541548 w 604539"/>
              <a:gd name="connsiteY37" fmla="*/ 23244 h 508988"/>
              <a:gd name="connsiteX38" fmla="*/ 541548 w 604539"/>
              <a:gd name="connsiteY38" fmla="*/ 54075 h 508988"/>
              <a:gd name="connsiteX39" fmla="*/ 572422 w 604539"/>
              <a:gd name="connsiteY39" fmla="*/ 54075 h 508988"/>
              <a:gd name="connsiteX40" fmla="*/ 595577 w 604539"/>
              <a:gd name="connsiteY40" fmla="*/ 77199 h 508988"/>
              <a:gd name="connsiteX41" fmla="*/ 572422 w 604539"/>
              <a:gd name="connsiteY41" fmla="*/ 100322 h 508988"/>
              <a:gd name="connsiteX42" fmla="*/ 541548 w 604539"/>
              <a:gd name="connsiteY42" fmla="*/ 100322 h 508988"/>
              <a:gd name="connsiteX43" fmla="*/ 541548 w 604539"/>
              <a:gd name="connsiteY43" fmla="*/ 131274 h 508988"/>
              <a:gd name="connsiteX44" fmla="*/ 518273 w 604539"/>
              <a:gd name="connsiteY44" fmla="*/ 154397 h 508988"/>
              <a:gd name="connsiteX45" fmla="*/ 495117 w 604539"/>
              <a:gd name="connsiteY45" fmla="*/ 131274 h 508988"/>
              <a:gd name="connsiteX46" fmla="*/ 495117 w 604539"/>
              <a:gd name="connsiteY46" fmla="*/ 100322 h 508988"/>
              <a:gd name="connsiteX47" fmla="*/ 464244 w 604539"/>
              <a:gd name="connsiteY47" fmla="*/ 100322 h 508988"/>
              <a:gd name="connsiteX48" fmla="*/ 440968 w 604539"/>
              <a:gd name="connsiteY48" fmla="*/ 77199 h 508988"/>
              <a:gd name="connsiteX49" fmla="*/ 464244 w 604539"/>
              <a:gd name="connsiteY49" fmla="*/ 54075 h 508988"/>
              <a:gd name="connsiteX50" fmla="*/ 495117 w 604539"/>
              <a:gd name="connsiteY50" fmla="*/ 54075 h 508988"/>
              <a:gd name="connsiteX51" fmla="*/ 495117 w 604539"/>
              <a:gd name="connsiteY51" fmla="*/ 23244 h 508988"/>
              <a:gd name="connsiteX52" fmla="*/ 518273 w 604539"/>
              <a:gd name="connsiteY52" fmla="*/ 0 h 508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604539" h="508988">
                <a:moveTo>
                  <a:pt x="54158" y="287695"/>
                </a:moveTo>
                <a:lnTo>
                  <a:pt x="242194" y="287695"/>
                </a:lnTo>
                <a:cubicBezTo>
                  <a:pt x="253411" y="287695"/>
                  <a:pt x="263060" y="295766"/>
                  <a:pt x="264990" y="306729"/>
                </a:cubicBezTo>
                <a:lnTo>
                  <a:pt x="295264" y="478149"/>
                </a:lnTo>
                <a:cubicBezTo>
                  <a:pt x="296109" y="480559"/>
                  <a:pt x="296591" y="483088"/>
                  <a:pt x="296591" y="485739"/>
                </a:cubicBezTo>
                <a:cubicBezTo>
                  <a:pt x="296591" y="498628"/>
                  <a:pt x="286218" y="508988"/>
                  <a:pt x="273433" y="508988"/>
                </a:cubicBezTo>
                <a:lnTo>
                  <a:pt x="273071" y="508988"/>
                </a:lnTo>
                <a:lnTo>
                  <a:pt x="23160" y="508988"/>
                </a:lnTo>
                <a:cubicBezTo>
                  <a:pt x="16285" y="508988"/>
                  <a:pt x="9772" y="505977"/>
                  <a:pt x="5430" y="500676"/>
                </a:cubicBezTo>
                <a:cubicBezTo>
                  <a:pt x="967" y="495496"/>
                  <a:pt x="-842" y="488509"/>
                  <a:pt x="364" y="481763"/>
                </a:cubicBezTo>
                <a:lnTo>
                  <a:pt x="31241" y="306729"/>
                </a:lnTo>
                <a:cubicBezTo>
                  <a:pt x="33171" y="295766"/>
                  <a:pt x="42820" y="287695"/>
                  <a:pt x="54158" y="287695"/>
                </a:cubicBezTo>
                <a:close/>
                <a:moveTo>
                  <a:pt x="362106" y="287554"/>
                </a:moveTo>
                <a:lnTo>
                  <a:pt x="550142" y="287554"/>
                </a:lnTo>
                <a:cubicBezTo>
                  <a:pt x="561359" y="287554"/>
                  <a:pt x="571008" y="295747"/>
                  <a:pt x="572938" y="306710"/>
                </a:cubicBezTo>
                <a:lnTo>
                  <a:pt x="603212" y="478147"/>
                </a:lnTo>
                <a:cubicBezTo>
                  <a:pt x="604057" y="480556"/>
                  <a:pt x="604539" y="483086"/>
                  <a:pt x="604539" y="485736"/>
                </a:cubicBezTo>
                <a:cubicBezTo>
                  <a:pt x="604539" y="498627"/>
                  <a:pt x="594166" y="508988"/>
                  <a:pt x="581381" y="508988"/>
                </a:cubicBezTo>
                <a:lnTo>
                  <a:pt x="581019" y="508988"/>
                </a:lnTo>
                <a:lnTo>
                  <a:pt x="331108" y="508988"/>
                </a:lnTo>
                <a:cubicBezTo>
                  <a:pt x="324233" y="508988"/>
                  <a:pt x="317720" y="505976"/>
                  <a:pt x="313378" y="500675"/>
                </a:cubicBezTo>
                <a:cubicBezTo>
                  <a:pt x="308915" y="495495"/>
                  <a:pt x="307106" y="488507"/>
                  <a:pt x="308312" y="481761"/>
                </a:cubicBezTo>
                <a:lnTo>
                  <a:pt x="339189" y="306710"/>
                </a:lnTo>
                <a:cubicBezTo>
                  <a:pt x="341119" y="295747"/>
                  <a:pt x="350768" y="287554"/>
                  <a:pt x="362106" y="287554"/>
                </a:cubicBezTo>
                <a:close/>
                <a:moveTo>
                  <a:pt x="208081" y="54053"/>
                </a:moveTo>
                <a:lnTo>
                  <a:pt x="396118" y="54053"/>
                </a:lnTo>
                <a:cubicBezTo>
                  <a:pt x="407455" y="54053"/>
                  <a:pt x="417104" y="62122"/>
                  <a:pt x="419034" y="73201"/>
                </a:cubicBezTo>
                <a:lnTo>
                  <a:pt x="449308" y="244446"/>
                </a:lnTo>
                <a:cubicBezTo>
                  <a:pt x="450153" y="246855"/>
                  <a:pt x="450635" y="249504"/>
                  <a:pt x="450635" y="252154"/>
                </a:cubicBezTo>
                <a:cubicBezTo>
                  <a:pt x="450635" y="264919"/>
                  <a:pt x="440262" y="275275"/>
                  <a:pt x="427357" y="275275"/>
                </a:cubicBezTo>
                <a:lnTo>
                  <a:pt x="427115" y="275275"/>
                </a:lnTo>
                <a:lnTo>
                  <a:pt x="177204" y="275275"/>
                </a:lnTo>
                <a:cubicBezTo>
                  <a:pt x="170329" y="275275"/>
                  <a:pt x="163816" y="272265"/>
                  <a:pt x="159353" y="266966"/>
                </a:cubicBezTo>
                <a:cubicBezTo>
                  <a:pt x="155011" y="261788"/>
                  <a:pt x="153202" y="254803"/>
                  <a:pt x="154288" y="248059"/>
                </a:cubicBezTo>
                <a:lnTo>
                  <a:pt x="185285" y="73201"/>
                </a:lnTo>
                <a:cubicBezTo>
                  <a:pt x="187215" y="62122"/>
                  <a:pt x="196864" y="54053"/>
                  <a:pt x="208081" y="54053"/>
                </a:cubicBezTo>
                <a:close/>
                <a:moveTo>
                  <a:pt x="518273" y="0"/>
                </a:moveTo>
                <a:cubicBezTo>
                  <a:pt x="531177" y="0"/>
                  <a:pt x="541548" y="10358"/>
                  <a:pt x="541548" y="23244"/>
                </a:cubicBezTo>
                <a:lnTo>
                  <a:pt x="541548" y="54075"/>
                </a:lnTo>
                <a:lnTo>
                  <a:pt x="572422" y="54075"/>
                </a:lnTo>
                <a:cubicBezTo>
                  <a:pt x="585205" y="54075"/>
                  <a:pt x="595577" y="64433"/>
                  <a:pt x="595577" y="77199"/>
                </a:cubicBezTo>
                <a:cubicBezTo>
                  <a:pt x="595577" y="89965"/>
                  <a:pt x="585205" y="100322"/>
                  <a:pt x="572422" y="100322"/>
                </a:cubicBezTo>
                <a:lnTo>
                  <a:pt x="541548" y="100322"/>
                </a:lnTo>
                <a:lnTo>
                  <a:pt x="541548" y="131274"/>
                </a:lnTo>
                <a:cubicBezTo>
                  <a:pt x="541548" y="144040"/>
                  <a:pt x="531177" y="154397"/>
                  <a:pt x="518273" y="154397"/>
                </a:cubicBezTo>
                <a:cubicBezTo>
                  <a:pt x="505489" y="154397"/>
                  <a:pt x="495117" y="144040"/>
                  <a:pt x="495117" y="131274"/>
                </a:cubicBezTo>
                <a:lnTo>
                  <a:pt x="495117" y="100322"/>
                </a:lnTo>
                <a:lnTo>
                  <a:pt x="464244" y="100322"/>
                </a:lnTo>
                <a:cubicBezTo>
                  <a:pt x="451340" y="100322"/>
                  <a:pt x="440968" y="89965"/>
                  <a:pt x="440968" y="77199"/>
                </a:cubicBezTo>
                <a:cubicBezTo>
                  <a:pt x="440968" y="64433"/>
                  <a:pt x="451340" y="54075"/>
                  <a:pt x="464244" y="54075"/>
                </a:cubicBezTo>
                <a:lnTo>
                  <a:pt x="495117" y="54075"/>
                </a:lnTo>
                <a:lnTo>
                  <a:pt x="495117" y="23244"/>
                </a:lnTo>
                <a:cubicBezTo>
                  <a:pt x="495117" y="10358"/>
                  <a:pt x="505489" y="0"/>
                  <a:pt x="51827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5" name="íS1îḋé"/>
          <p:cNvSpPr/>
          <p:nvPr/>
        </p:nvSpPr>
        <p:spPr bwMode="auto">
          <a:xfrm>
            <a:off x="3363661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22" name="ïŝḻîḍè"/>
          <p:cNvSpPr/>
          <p:nvPr/>
        </p:nvSpPr>
        <p:spPr>
          <a:xfrm>
            <a:off x="5766922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3" name="ïsḻiḋê"/>
          <p:cNvSpPr/>
          <p:nvPr/>
        </p:nvSpPr>
        <p:spPr>
          <a:xfrm>
            <a:off x="5937249" y="5267203"/>
            <a:ext cx="304804" cy="245653"/>
          </a:xfrm>
          <a:custGeom>
            <a:avLst/>
            <a:gdLst>
              <a:gd name="connsiteX0" fmla="*/ 50882 w 608344"/>
              <a:gd name="connsiteY0" fmla="*/ 115887 h 490289"/>
              <a:gd name="connsiteX1" fmla="*/ 50882 w 608344"/>
              <a:gd name="connsiteY1" fmla="*/ 201112 h 490289"/>
              <a:gd name="connsiteX2" fmla="*/ 438489 w 608344"/>
              <a:gd name="connsiteY2" fmla="*/ 201112 h 490289"/>
              <a:gd name="connsiteX3" fmla="*/ 438489 w 608344"/>
              <a:gd name="connsiteY3" fmla="*/ 162825 h 490289"/>
              <a:gd name="connsiteX4" fmla="*/ 219567 w 608344"/>
              <a:gd name="connsiteY4" fmla="*/ 162825 h 490289"/>
              <a:gd name="connsiteX5" fmla="*/ 174400 w 608344"/>
              <a:gd name="connsiteY5" fmla="*/ 135399 h 490289"/>
              <a:gd name="connsiteX6" fmla="*/ 165459 w 608344"/>
              <a:gd name="connsiteY6" fmla="*/ 118372 h 490289"/>
              <a:gd name="connsiteX7" fmla="*/ 164260 w 608344"/>
              <a:gd name="connsiteY7" fmla="*/ 115887 h 490289"/>
              <a:gd name="connsiteX8" fmla="*/ 50697 w 608344"/>
              <a:gd name="connsiteY8" fmla="*/ 64991 h 490289"/>
              <a:gd name="connsiteX9" fmla="*/ 164445 w 608344"/>
              <a:gd name="connsiteY9" fmla="*/ 64991 h 490289"/>
              <a:gd name="connsiteX10" fmla="*/ 210718 w 608344"/>
              <a:gd name="connsiteY10" fmla="*/ 94995 h 490289"/>
              <a:gd name="connsiteX11" fmla="*/ 219567 w 608344"/>
              <a:gd name="connsiteY11" fmla="*/ 112022 h 490289"/>
              <a:gd name="connsiteX12" fmla="*/ 438674 w 608344"/>
              <a:gd name="connsiteY12" fmla="*/ 112022 h 490289"/>
              <a:gd name="connsiteX13" fmla="*/ 489371 w 608344"/>
              <a:gd name="connsiteY13" fmla="*/ 162641 h 490289"/>
              <a:gd name="connsiteX14" fmla="*/ 489371 w 608344"/>
              <a:gd name="connsiteY14" fmla="*/ 445560 h 490289"/>
              <a:gd name="connsiteX15" fmla="*/ 444665 w 608344"/>
              <a:gd name="connsiteY15" fmla="*/ 490289 h 490289"/>
              <a:gd name="connsiteX16" fmla="*/ 44798 w 608344"/>
              <a:gd name="connsiteY16" fmla="*/ 490289 h 490289"/>
              <a:gd name="connsiteX17" fmla="*/ 0 w 608344"/>
              <a:gd name="connsiteY17" fmla="*/ 445560 h 490289"/>
              <a:gd name="connsiteX18" fmla="*/ 0 w 608344"/>
              <a:gd name="connsiteY18" fmla="*/ 115611 h 490289"/>
              <a:gd name="connsiteX19" fmla="*/ 50697 w 608344"/>
              <a:gd name="connsiteY19" fmla="*/ 64991 h 490289"/>
              <a:gd name="connsiteX20" fmla="*/ 261904 w 608344"/>
              <a:gd name="connsiteY20" fmla="*/ 0 h 490289"/>
              <a:gd name="connsiteX21" fmla="*/ 519660 w 608344"/>
              <a:gd name="connsiteY21" fmla="*/ 0 h 490289"/>
              <a:gd name="connsiteX22" fmla="*/ 608344 w 608344"/>
              <a:gd name="connsiteY22" fmla="*/ 88635 h 490289"/>
              <a:gd name="connsiteX23" fmla="*/ 608344 w 608344"/>
              <a:gd name="connsiteY23" fmla="*/ 335764 h 490289"/>
              <a:gd name="connsiteX24" fmla="*/ 578107 w 608344"/>
              <a:gd name="connsiteY24" fmla="*/ 365953 h 490289"/>
              <a:gd name="connsiteX25" fmla="*/ 547961 w 608344"/>
              <a:gd name="connsiteY25" fmla="*/ 335764 h 490289"/>
              <a:gd name="connsiteX26" fmla="*/ 547961 w 608344"/>
              <a:gd name="connsiteY26" fmla="*/ 88635 h 490289"/>
              <a:gd name="connsiteX27" fmla="*/ 519660 w 608344"/>
              <a:gd name="connsiteY27" fmla="*/ 60379 h 490289"/>
              <a:gd name="connsiteX28" fmla="*/ 261904 w 608344"/>
              <a:gd name="connsiteY28" fmla="*/ 60379 h 490289"/>
              <a:gd name="connsiteX29" fmla="*/ 231666 w 608344"/>
              <a:gd name="connsiteY29" fmla="*/ 30190 h 490289"/>
              <a:gd name="connsiteX30" fmla="*/ 261904 w 608344"/>
              <a:gd name="connsiteY30" fmla="*/ 0 h 490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608344" h="490289">
                <a:moveTo>
                  <a:pt x="50882" y="115887"/>
                </a:moveTo>
                <a:lnTo>
                  <a:pt x="50882" y="201112"/>
                </a:lnTo>
                <a:lnTo>
                  <a:pt x="438489" y="201112"/>
                </a:lnTo>
                <a:lnTo>
                  <a:pt x="438489" y="162825"/>
                </a:lnTo>
                <a:lnTo>
                  <a:pt x="219567" y="162825"/>
                </a:lnTo>
                <a:cubicBezTo>
                  <a:pt x="200578" y="162825"/>
                  <a:pt x="183065" y="152241"/>
                  <a:pt x="174400" y="135399"/>
                </a:cubicBezTo>
                <a:lnTo>
                  <a:pt x="165459" y="118372"/>
                </a:lnTo>
                <a:cubicBezTo>
                  <a:pt x="165090" y="117544"/>
                  <a:pt x="164629" y="116715"/>
                  <a:pt x="164260" y="115887"/>
                </a:cubicBezTo>
                <a:close/>
                <a:moveTo>
                  <a:pt x="50697" y="64991"/>
                </a:moveTo>
                <a:lnTo>
                  <a:pt x="164445" y="64991"/>
                </a:lnTo>
                <a:cubicBezTo>
                  <a:pt x="184447" y="64991"/>
                  <a:pt x="202514" y="76772"/>
                  <a:pt x="210718" y="94995"/>
                </a:cubicBezTo>
                <a:lnTo>
                  <a:pt x="219567" y="112022"/>
                </a:lnTo>
                <a:lnTo>
                  <a:pt x="438674" y="112022"/>
                </a:lnTo>
                <a:cubicBezTo>
                  <a:pt x="466696" y="112022"/>
                  <a:pt x="489371" y="134662"/>
                  <a:pt x="489371" y="162641"/>
                </a:cubicBezTo>
                <a:lnTo>
                  <a:pt x="489371" y="445560"/>
                </a:lnTo>
                <a:cubicBezTo>
                  <a:pt x="489371" y="470225"/>
                  <a:pt x="469369" y="490289"/>
                  <a:pt x="444665" y="490289"/>
                </a:cubicBezTo>
                <a:lnTo>
                  <a:pt x="44798" y="490289"/>
                </a:lnTo>
                <a:cubicBezTo>
                  <a:pt x="20002" y="490289"/>
                  <a:pt x="0" y="470225"/>
                  <a:pt x="0" y="445560"/>
                </a:cubicBezTo>
                <a:lnTo>
                  <a:pt x="0" y="115611"/>
                </a:lnTo>
                <a:cubicBezTo>
                  <a:pt x="0" y="87632"/>
                  <a:pt x="22675" y="64991"/>
                  <a:pt x="50697" y="64991"/>
                </a:cubicBezTo>
                <a:close/>
                <a:moveTo>
                  <a:pt x="261904" y="0"/>
                </a:moveTo>
                <a:lnTo>
                  <a:pt x="519660" y="0"/>
                </a:lnTo>
                <a:cubicBezTo>
                  <a:pt x="568611" y="0"/>
                  <a:pt x="608344" y="39762"/>
                  <a:pt x="608344" y="88635"/>
                </a:cubicBezTo>
                <a:lnTo>
                  <a:pt x="608344" y="335764"/>
                </a:lnTo>
                <a:cubicBezTo>
                  <a:pt x="608344" y="352423"/>
                  <a:pt x="594885" y="365953"/>
                  <a:pt x="578107" y="365953"/>
                </a:cubicBezTo>
                <a:cubicBezTo>
                  <a:pt x="561421" y="365953"/>
                  <a:pt x="547961" y="352423"/>
                  <a:pt x="547961" y="335764"/>
                </a:cubicBezTo>
                <a:lnTo>
                  <a:pt x="547961" y="88635"/>
                </a:lnTo>
                <a:cubicBezTo>
                  <a:pt x="547961" y="72988"/>
                  <a:pt x="535240" y="60379"/>
                  <a:pt x="519660" y="60379"/>
                </a:cubicBezTo>
                <a:lnTo>
                  <a:pt x="261904" y="60379"/>
                </a:lnTo>
                <a:cubicBezTo>
                  <a:pt x="245218" y="60379"/>
                  <a:pt x="231666" y="46849"/>
                  <a:pt x="231666" y="30190"/>
                </a:cubicBezTo>
                <a:cubicBezTo>
                  <a:pt x="231666" y="13530"/>
                  <a:pt x="245218" y="0"/>
                  <a:pt x="2619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1" name="íṣliďê"/>
          <p:cNvSpPr/>
          <p:nvPr/>
        </p:nvSpPr>
        <p:spPr bwMode="auto">
          <a:xfrm>
            <a:off x="5308788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18" name="îṧļïḓê"/>
          <p:cNvSpPr/>
          <p:nvPr/>
        </p:nvSpPr>
        <p:spPr>
          <a:xfrm>
            <a:off x="7712049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9" name="iṩľïḑe"/>
          <p:cNvSpPr/>
          <p:nvPr/>
        </p:nvSpPr>
        <p:spPr>
          <a:xfrm>
            <a:off x="7887905" y="5237626"/>
            <a:ext cx="293745" cy="304804"/>
          </a:xfrm>
          <a:custGeom>
            <a:avLst/>
            <a:gdLst>
              <a:gd name="connsiteX0" fmla="*/ 533304 w 585797"/>
              <a:gd name="connsiteY0" fmla="*/ 452325 h 607851"/>
              <a:gd name="connsiteX1" fmla="*/ 568750 w 585797"/>
              <a:gd name="connsiteY1" fmla="*/ 460265 h 607851"/>
              <a:gd name="connsiteX2" fmla="*/ 585772 w 585797"/>
              <a:gd name="connsiteY2" fmla="*/ 480255 h 607851"/>
              <a:gd name="connsiteX3" fmla="*/ 571088 w 585797"/>
              <a:gd name="connsiteY3" fmla="*/ 502112 h 607851"/>
              <a:gd name="connsiteX4" fmla="*/ 273212 w 585797"/>
              <a:gd name="connsiteY4" fmla="*/ 604395 h 607851"/>
              <a:gd name="connsiteX5" fmla="*/ 252917 w 585797"/>
              <a:gd name="connsiteY5" fmla="*/ 607851 h 607851"/>
              <a:gd name="connsiteX6" fmla="*/ 236924 w 585797"/>
              <a:gd name="connsiteY6" fmla="*/ 605703 h 607851"/>
              <a:gd name="connsiteX7" fmla="*/ 16205 w 585797"/>
              <a:gd name="connsiteY7" fmla="*/ 547322 h 607851"/>
              <a:gd name="connsiteX8" fmla="*/ 25 w 585797"/>
              <a:gd name="connsiteY8" fmla="*/ 527239 h 607851"/>
              <a:gd name="connsiteX9" fmla="*/ 14428 w 585797"/>
              <a:gd name="connsiteY9" fmla="*/ 505755 h 607851"/>
              <a:gd name="connsiteX10" fmla="*/ 50716 w 585797"/>
              <a:gd name="connsiteY10" fmla="*/ 492678 h 607851"/>
              <a:gd name="connsiteX11" fmla="*/ 226449 w 585797"/>
              <a:gd name="connsiteY11" fmla="*/ 539196 h 607851"/>
              <a:gd name="connsiteX12" fmla="*/ 252917 w 585797"/>
              <a:gd name="connsiteY12" fmla="*/ 542652 h 607851"/>
              <a:gd name="connsiteX13" fmla="*/ 286492 w 585797"/>
              <a:gd name="connsiteY13" fmla="*/ 537047 h 607851"/>
              <a:gd name="connsiteX14" fmla="*/ 533215 w 585797"/>
              <a:gd name="connsiteY14" fmla="*/ 346476 h 607851"/>
              <a:gd name="connsiteX15" fmla="*/ 568751 w 585797"/>
              <a:gd name="connsiteY15" fmla="*/ 354414 h 607851"/>
              <a:gd name="connsiteX16" fmla="*/ 585772 w 585797"/>
              <a:gd name="connsiteY16" fmla="*/ 374490 h 607851"/>
              <a:gd name="connsiteX17" fmla="*/ 571089 w 585797"/>
              <a:gd name="connsiteY17" fmla="*/ 396248 h 607851"/>
              <a:gd name="connsiteX18" fmla="*/ 273237 w 585797"/>
              <a:gd name="connsiteY18" fmla="*/ 498500 h 607851"/>
              <a:gd name="connsiteX19" fmla="*/ 252944 w 585797"/>
              <a:gd name="connsiteY19" fmla="*/ 501861 h 607851"/>
              <a:gd name="connsiteX20" fmla="*/ 236952 w 585797"/>
              <a:gd name="connsiteY20" fmla="*/ 499807 h 607851"/>
              <a:gd name="connsiteX21" fmla="*/ 16251 w 585797"/>
              <a:gd name="connsiteY21" fmla="*/ 441444 h 607851"/>
              <a:gd name="connsiteX22" fmla="*/ 73 w 585797"/>
              <a:gd name="connsiteY22" fmla="*/ 421367 h 607851"/>
              <a:gd name="connsiteX23" fmla="*/ 14474 w 585797"/>
              <a:gd name="connsiteY23" fmla="*/ 399983 h 607851"/>
              <a:gd name="connsiteX24" fmla="*/ 50759 w 585797"/>
              <a:gd name="connsiteY24" fmla="*/ 386910 h 607851"/>
              <a:gd name="connsiteX25" fmla="*/ 226478 w 585797"/>
              <a:gd name="connsiteY25" fmla="*/ 433413 h 607851"/>
              <a:gd name="connsiteX26" fmla="*/ 252944 w 585797"/>
              <a:gd name="connsiteY26" fmla="*/ 436775 h 607851"/>
              <a:gd name="connsiteX27" fmla="*/ 286517 w 585797"/>
              <a:gd name="connsiteY27" fmla="*/ 431172 h 607851"/>
              <a:gd name="connsiteX28" fmla="*/ 463638 w 585797"/>
              <a:gd name="connsiteY28" fmla="*/ 224963 h 607851"/>
              <a:gd name="connsiteX29" fmla="*/ 568751 w 585797"/>
              <a:gd name="connsiteY29" fmla="*/ 248492 h 607851"/>
              <a:gd name="connsiteX30" fmla="*/ 585772 w 585797"/>
              <a:gd name="connsiteY30" fmla="*/ 268566 h 607851"/>
              <a:gd name="connsiteX31" fmla="*/ 571089 w 585797"/>
              <a:gd name="connsiteY31" fmla="*/ 290321 h 607851"/>
              <a:gd name="connsiteX32" fmla="*/ 273237 w 585797"/>
              <a:gd name="connsiteY32" fmla="*/ 392560 h 607851"/>
              <a:gd name="connsiteX33" fmla="*/ 252944 w 585797"/>
              <a:gd name="connsiteY33" fmla="*/ 396014 h 607851"/>
              <a:gd name="connsiteX34" fmla="*/ 236952 w 585797"/>
              <a:gd name="connsiteY34" fmla="*/ 393960 h 607851"/>
              <a:gd name="connsiteX35" fmla="*/ 16251 w 585797"/>
              <a:gd name="connsiteY35" fmla="*/ 335511 h 607851"/>
              <a:gd name="connsiteX36" fmla="*/ 73 w 585797"/>
              <a:gd name="connsiteY36" fmla="*/ 315437 h 607851"/>
              <a:gd name="connsiteX37" fmla="*/ 14474 w 585797"/>
              <a:gd name="connsiteY37" fmla="*/ 294056 h 607851"/>
              <a:gd name="connsiteX38" fmla="*/ 138011 w 585797"/>
              <a:gd name="connsiteY38" fmla="*/ 249613 h 607851"/>
              <a:gd name="connsiteX39" fmla="*/ 180094 w 585797"/>
              <a:gd name="connsiteY39" fmla="*/ 263618 h 607851"/>
              <a:gd name="connsiteX40" fmla="*/ 181497 w 585797"/>
              <a:gd name="connsiteY40" fmla="*/ 263711 h 607851"/>
              <a:gd name="connsiteX41" fmla="*/ 182806 w 585797"/>
              <a:gd name="connsiteY41" fmla="*/ 263711 h 607851"/>
              <a:gd name="connsiteX42" fmla="*/ 378444 w 585797"/>
              <a:gd name="connsiteY42" fmla="*/ 263711 h 607851"/>
              <a:gd name="connsiteX43" fmla="*/ 463638 w 585797"/>
              <a:gd name="connsiteY43" fmla="*/ 224963 h 607851"/>
              <a:gd name="connsiteX44" fmla="*/ 282669 w 585797"/>
              <a:gd name="connsiteY44" fmla="*/ 0 h 607851"/>
              <a:gd name="connsiteX45" fmla="*/ 376661 w 585797"/>
              <a:gd name="connsiteY45" fmla="*/ 77792 h 607851"/>
              <a:gd name="connsiteX46" fmla="*/ 378438 w 585797"/>
              <a:gd name="connsiteY46" fmla="*/ 77699 h 607851"/>
              <a:gd name="connsiteX47" fmla="*/ 451106 w 585797"/>
              <a:gd name="connsiteY47" fmla="*/ 150354 h 607851"/>
              <a:gd name="connsiteX48" fmla="*/ 378438 w 585797"/>
              <a:gd name="connsiteY48" fmla="*/ 222916 h 607851"/>
              <a:gd name="connsiteX49" fmla="*/ 182785 w 585797"/>
              <a:gd name="connsiteY49" fmla="*/ 222916 h 607851"/>
              <a:gd name="connsiteX50" fmla="*/ 134620 w 585797"/>
              <a:gd name="connsiteY50" fmla="*/ 170806 h 607851"/>
              <a:gd name="connsiteX51" fmla="*/ 186900 w 585797"/>
              <a:gd name="connsiteY51" fmla="*/ 118602 h 607851"/>
              <a:gd name="connsiteX52" fmla="*/ 189893 w 585797"/>
              <a:gd name="connsiteY52" fmla="*/ 118976 h 607851"/>
              <a:gd name="connsiteX53" fmla="*/ 186900 w 585797"/>
              <a:gd name="connsiteY53" fmla="*/ 95629 h 607851"/>
              <a:gd name="connsiteX54" fmla="*/ 282669 w 585797"/>
              <a:gd name="connsiteY54" fmla="*/ 0 h 60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85797" h="607851">
                <a:moveTo>
                  <a:pt x="533304" y="452325"/>
                </a:moveTo>
                <a:lnTo>
                  <a:pt x="568750" y="460265"/>
                </a:lnTo>
                <a:cubicBezTo>
                  <a:pt x="578290" y="462413"/>
                  <a:pt x="585210" y="470540"/>
                  <a:pt x="585772" y="480255"/>
                </a:cubicBezTo>
                <a:cubicBezTo>
                  <a:pt x="586239" y="489969"/>
                  <a:pt x="580254" y="498936"/>
                  <a:pt x="571088" y="502112"/>
                </a:cubicBezTo>
                <a:lnTo>
                  <a:pt x="273212" y="604395"/>
                </a:lnTo>
                <a:cubicBezTo>
                  <a:pt x="266665" y="606730"/>
                  <a:pt x="259838" y="607851"/>
                  <a:pt x="252917" y="607851"/>
                </a:cubicBezTo>
                <a:cubicBezTo>
                  <a:pt x="247586" y="607851"/>
                  <a:pt x="242162" y="607104"/>
                  <a:pt x="236924" y="605703"/>
                </a:cubicBezTo>
                <a:lnTo>
                  <a:pt x="16205" y="547322"/>
                </a:lnTo>
                <a:cubicBezTo>
                  <a:pt x="6946" y="544894"/>
                  <a:pt x="399" y="536674"/>
                  <a:pt x="25" y="527239"/>
                </a:cubicBezTo>
                <a:cubicBezTo>
                  <a:pt x="-442" y="517712"/>
                  <a:pt x="5450" y="509025"/>
                  <a:pt x="14428" y="505755"/>
                </a:cubicBezTo>
                <a:lnTo>
                  <a:pt x="50716" y="492678"/>
                </a:lnTo>
                <a:lnTo>
                  <a:pt x="226449" y="539196"/>
                </a:lnTo>
                <a:cubicBezTo>
                  <a:pt x="235147" y="541531"/>
                  <a:pt x="244032" y="542652"/>
                  <a:pt x="252917" y="542652"/>
                </a:cubicBezTo>
                <a:cubicBezTo>
                  <a:pt x="264420" y="542652"/>
                  <a:pt x="275643" y="540784"/>
                  <a:pt x="286492" y="537047"/>
                </a:cubicBezTo>
                <a:close/>
                <a:moveTo>
                  <a:pt x="533215" y="346476"/>
                </a:moveTo>
                <a:lnTo>
                  <a:pt x="568751" y="354414"/>
                </a:lnTo>
                <a:cubicBezTo>
                  <a:pt x="578290" y="356561"/>
                  <a:pt x="585211" y="364779"/>
                  <a:pt x="585772" y="374490"/>
                </a:cubicBezTo>
                <a:cubicBezTo>
                  <a:pt x="586239" y="384202"/>
                  <a:pt x="580254" y="393073"/>
                  <a:pt x="571089" y="396248"/>
                </a:cubicBezTo>
                <a:lnTo>
                  <a:pt x="273237" y="498500"/>
                </a:lnTo>
                <a:cubicBezTo>
                  <a:pt x="266691" y="500741"/>
                  <a:pt x="259864" y="501861"/>
                  <a:pt x="252944" y="501861"/>
                </a:cubicBezTo>
                <a:cubicBezTo>
                  <a:pt x="247613" y="501861"/>
                  <a:pt x="242189" y="501208"/>
                  <a:pt x="236952" y="499807"/>
                </a:cubicBezTo>
                <a:lnTo>
                  <a:pt x="16251" y="441444"/>
                </a:lnTo>
                <a:cubicBezTo>
                  <a:pt x="7087" y="439016"/>
                  <a:pt x="447" y="430892"/>
                  <a:pt x="73" y="421367"/>
                </a:cubicBezTo>
                <a:cubicBezTo>
                  <a:pt x="-301" y="411843"/>
                  <a:pt x="5497" y="403158"/>
                  <a:pt x="14474" y="399983"/>
                </a:cubicBezTo>
                <a:lnTo>
                  <a:pt x="50759" y="386910"/>
                </a:lnTo>
                <a:lnTo>
                  <a:pt x="226478" y="433413"/>
                </a:lnTo>
                <a:cubicBezTo>
                  <a:pt x="235176" y="435655"/>
                  <a:pt x="244060" y="436775"/>
                  <a:pt x="252944" y="436775"/>
                </a:cubicBezTo>
                <a:cubicBezTo>
                  <a:pt x="264446" y="436775"/>
                  <a:pt x="275762" y="434907"/>
                  <a:pt x="286517" y="431172"/>
                </a:cubicBezTo>
                <a:close/>
                <a:moveTo>
                  <a:pt x="463638" y="224963"/>
                </a:moveTo>
                <a:lnTo>
                  <a:pt x="568751" y="248492"/>
                </a:lnTo>
                <a:cubicBezTo>
                  <a:pt x="578290" y="250640"/>
                  <a:pt x="585211" y="258856"/>
                  <a:pt x="585772" y="268566"/>
                </a:cubicBezTo>
                <a:cubicBezTo>
                  <a:pt x="586239" y="278277"/>
                  <a:pt x="580254" y="287147"/>
                  <a:pt x="571089" y="290321"/>
                </a:cubicBezTo>
                <a:lnTo>
                  <a:pt x="273237" y="392560"/>
                </a:lnTo>
                <a:cubicBezTo>
                  <a:pt x="266691" y="394894"/>
                  <a:pt x="259864" y="396014"/>
                  <a:pt x="252944" y="396014"/>
                </a:cubicBezTo>
                <a:cubicBezTo>
                  <a:pt x="247613" y="396014"/>
                  <a:pt x="242189" y="395267"/>
                  <a:pt x="236952" y="393960"/>
                </a:cubicBezTo>
                <a:lnTo>
                  <a:pt x="16251" y="335511"/>
                </a:lnTo>
                <a:cubicBezTo>
                  <a:pt x="7087" y="333084"/>
                  <a:pt x="447" y="324961"/>
                  <a:pt x="73" y="315437"/>
                </a:cubicBezTo>
                <a:cubicBezTo>
                  <a:pt x="-301" y="305914"/>
                  <a:pt x="5497" y="297230"/>
                  <a:pt x="14474" y="294056"/>
                </a:cubicBezTo>
                <a:lnTo>
                  <a:pt x="138011" y="249613"/>
                </a:lnTo>
                <a:cubicBezTo>
                  <a:pt x="150449" y="257362"/>
                  <a:pt x="164570" y="262591"/>
                  <a:pt x="180094" y="263618"/>
                </a:cubicBezTo>
                <a:lnTo>
                  <a:pt x="181497" y="263711"/>
                </a:lnTo>
                <a:lnTo>
                  <a:pt x="182806" y="263711"/>
                </a:lnTo>
                <a:lnTo>
                  <a:pt x="378444" y="263711"/>
                </a:lnTo>
                <a:cubicBezTo>
                  <a:pt x="412391" y="263711"/>
                  <a:pt x="442784" y="248679"/>
                  <a:pt x="463638" y="224963"/>
                </a:cubicBezTo>
                <a:close/>
                <a:moveTo>
                  <a:pt x="282669" y="0"/>
                </a:moveTo>
                <a:cubicBezTo>
                  <a:pt x="329431" y="0"/>
                  <a:pt x="368337" y="33526"/>
                  <a:pt x="376661" y="77792"/>
                </a:cubicBezTo>
                <a:cubicBezTo>
                  <a:pt x="377222" y="77792"/>
                  <a:pt x="377877" y="77699"/>
                  <a:pt x="378438" y="77699"/>
                </a:cubicBezTo>
                <a:cubicBezTo>
                  <a:pt x="418560" y="77699"/>
                  <a:pt x="451106" y="110198"/>
                  <a:pt x="451106" y="150354"/>
                </a:cubicBezTo>
                <a:cubicBezTo>
                  <a:pt x="451106" y="190417"/>
                  <a:pt x="418560" y="222916"/>
                  <a:pt x="378438" y="222916"/>
                </a:cubicBezTo>
                <a:lnTo>
                  <a:pt x="182785" y="222916"/>
                </a:lnTo>
                <a:cubicBezTo>
                  <a:pt x="155570" y="221142"/>
                  <a:pt x="134620" y="198449"/>
                  <a:pt x="134620" y="170806"/>
                </a:cubicBezTo>
                <a:cubicBezTo>
                  <a:pt x="134620" y="141949"/>
                  <a:pt x="158095" y="118602"/>
                  <a:pt x="186900" y="118602"/>
                </a:cubicBezTo>
                <a:cubicBezTo>
                  <a:pt x="187929" y="118602"/>
                  <a:pt x="188864" y="118883"/>
                  <a:pt x="189893" y="118976"/>
                </a:cubicBezTo>
                <a:cubicBezTo>
                  <a:pt x="188023" y="111505"/>
                  <a:pt x="186900" y="103660"/>
                  <a:pt x="186900" y="95629"/>
                </a:cubicBezTo>
                <a:cubicBezTo>
                  <a:pt x="186900" y="42772"/>
                  <a:pt x="229734" y="0"/>
                  <a:pt x="2826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7" name="îṥļíde"/>
          <p:cNvSpPr/>
          <p:nvPr/>
        </p:nvSpPr>
        <p:spPr bwMode="auto">
          <a:xfrm>
            <a:off x="7253915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14" name="íş1ide"/>
          <p:cNvSpPr/>
          <p:nvPr/>
        </p:nvSpPr>
        <p:spPr>
          <a:xfrm>
            <a:off x="9657174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5" name="ï$1iḑê"/>
          <p:cNvSpPr/>
          <p:nvPr/>
        </p:nvSpPr>
        <p:spPr>
          <a:xfrm>
            <a:off x="9827501" y="5237839"/>
            <a:ext cx="304804" cy="304379"/>
          </a:xfrm>
          <a:custGeom>
            <a:avLst/>
            <a:gdLst>
              <a:gd name="T0" fmla="*/ 5645 w 6302"/>
              <a:gd name="T1" fmla="*/ 4726 h 6302"/>
              <a:gd name="T2" fmla="*/ 5645 w 6302"/>
              <a:gd name="T3" fmla="*/ 3212 h 6302"/>
              <a:gd name="T4" fmla="*/ 3282 w 6302"/>
              <a:gd name="T5" fmla="*/ 3212 h 6302"/>
              <a:gd name="T6" fmla="*/ 3282 w 6302"/>
              <a:gd name="T7" fmla="*/ 2101 h 6302"/>
              <a:gd name="T8" fmla="*/ 4857 w 6302"/>
              <a:gd name="T9" fmla="*/ 2101 h 6302"/>
              <a:gd name="T10" fmla="*/ 4857 w 6302"/>
              <a:gd name="T11" fmla="*/ 0 h 6302"/>
              <a:gd name="T12" fmla="*/ 1444 w 6302"/>
              <a:gd name="T13" fmla="*/ 0 h 6302"/>
              <a:gd name="T14" fmla="*/ 1444 w 6302"/>
              <a:gd name="T15" fmla="*/ 2101 h 6302"/>
              <a:gd name="T16" fmla="*/ 3019 w 6302"/>
              <a:gd name="T17" fmla="*/ 2101 h 6302"/>
              <a:gd name="T18" fmla="*/ 3019 w 6302"/>
              <a:gd name="T19" fmla="*/ 3212 h 6302"/>
              <a:gd name="T20" fmla="*/ 656 w 6302"/>
              <a:gd name="T21" fmla="*/ 3212 h 6302"/>
              <a:gd name="T22" fmla="*/ 656 w 6302"/>
              <a:gd name="T23" fmla="*/ 4726 h 6302"/>
              <a:gd name="T24" fmla="*/ 0 w 6302"/>
              <a:gd name="T25" fmla="*/ 4726 h 6302"/>
              <a:gd name="T26" fmla="*/ 0 w 6302"/>
              <a:gd name="T27" fmla="*/ 6302 h 6302"/>
              <a:gd name="T28" fmla="*/ 1575 w 6302"/>
              <a:gd name="T29" fmla="*/ 6302 h 6302"/>
              <a:gd name="T30" fmla="*/ 1575 w 6302"/>
              <a:gd name="T31" fmla="*/ 4726 h 6302"/>
              <a:gd name="T32" fmla="*/ 919 w 6302"/>
              <a:gd name="T33" fmla="*/ 4726 h 6302"/>
              <a:gd name="T34" fmla="*/ 919 w 6302"/>
              <a:gd name="T35" fmla="*/ 3475 h 6302"/>
              <a:gd name="T36" fmla="*/ 3019 w 6302"/>
              <a:gd name="T37" fmla="*/ 3475 h 6302"/>
              <a:gd name="T38" fmla="*/ 3019 w 6302"/>
              <a:gd name="T39" fmla="*/ 4726 h 6302"/>
              <a:gd name="T40" fmla="*/ 2363 w 6302"/>
              <a:gd name="T41" fmla="*/ 4726 h 6302"/>
              <a:gd name="T42" fmla="*/ 2363 w 6302"/>
              <a:gd name="T43" fmla="*/ 6302 h 6302"/>
              <a:gd name="T44" fmla="*/ 3938 w 6302"/>
              <a:gd name="T45" fmla="*/ 6302 h 6302"/>
              <a:gd name="T46" fmla="*/ 3938 w 6302"/>
              <a:gd name="T47" fmla="*/ 4726 h 6302"/>
              <a:gd name="T48" fmla="*/ 3282 w 6302"/>
              <a:gd name="T49" fmla="*/ 4726 h 6302"/>
              <a:gd name="T50" fmla="*/ 3282 w 6302"/>
              <a:gd name="T51" fmla="*/ 3475 h 6302"/>
              <a:gd name="T52" fmla="*/ 5383 w 6302"/>
              <a:gd name="T53" fmla="*/ 3475 h 6302"/>
              <a:gd name="T54" fmla="*/ 5383 w 6302"/>
              <a:gd name="T55" fmla="*/ 4726 h 6302"/>
              <a:gd name="T56" fmla="*/ 4726 w 6302"/>
              <a:gd name="T57" fmla="*/ 4726 h 6302"/>
              <a:gd name="T58" fmla="*/ 4726 w 6302"/>
              <a:gd name="T59" fmla="*/ 6302 h 6302"/>
              <a:gd name="T60" fmla="*/ 6302 w 6302"/>
              <a:gd name="T61" fmla="*/ 6302 h 6302"/>
              <a:gd name="T62" fmla="*/ 6302 w 6302"/>
              <a:gd name="T63" fmla="*/ 4726 h 6302"/>
              <a:gd name="T64" fmla="*/ 5645 w 6302"/>
              <a:gd name="T65" fmla="*/ 4726 h 6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302" h="6302">
                <a:moveTo>
                  <a:pt x="5645" y="4726"/>
                </a:moveTo>
                <a:lnTo>
                  <a:pt x="5645" y="3212"/>
                </a:lnTo>
                <a:lnTo>
                  <a:pt x="3282" y="3212"/>
                </a:lnTo>
                <a:lnTo>
                  <a:pt x="3282" y="2101"/>
                </a:lnTo>
                <a:lnTo>
                  <a:pt x="4857" y="2101"/>
                </a:lnTo>
                <a:lnTo>
                  <a:pt x="4857" y="0"/>
                </a:lnTo>
                <a:lnTo>
                  <a:pt x="1444" y="0"/>
                </a:lnTo>
                <a:lnTo>
                  <a:pt x="1444" y="2101"/>
                </a:lnTo>
                <a:lnTo>
                  <a:pt x="3019" y="2101"/>
                </a:lnTo>
                <a:lnTo>
                  <a:pt x="3019" y="3212"/>
                </a:lnTo>
                <a:lnTo>
                  <a:pt x="656" y="3212"/>
                </a:lnTo>
                <a:lnTo>
                  <a:pt x="656" y="4726"/>
                </a:lnTo>
                <a:lnTo>
                  <a:pt x="0" y="4726"/>
                </a:lnTo>
                <a:lnTo>
                  <a:pt x="0" y="6302"/>
                </a:lnTo>
                <a:lnTo>
                  <a:pt x="1575" y="6302"/>
                </a:lnTo>
                <a:lnTo>
                  <a:pt x="1575" y="4726"/>
                </a:lnTo>
                <a:lnTo>
                  <a:pt x="919" y="4726"/>
                </a:lnTo>
                <a:lnTo>
                  <a:pt x="919" y="3475"/>
                </a:lnTo>
                <a:lnTo>
                  <a:pt x="3019" y="3475"/>
                </a:lnTo>
                <a:lnTo>
                  <a:pt x="3019" y="4726"/>
                </a:lnTo>
                <a:lnTo>
                  <a:pt x="2363" y="4726"/>
                </a:lnTo>
                <a:lnTo>
                  <a:pt x="2363" y="6302"/>
                </a:lnTo>
                <a:lnTo>
                  <a:pt x="3938" y="6302"/>
                </a:lnTo>
                <a:lnTo>
                  <a:pt x="3938" y="4726"/>
                </a:lnTo>
                <a:lnTo>
                  <a:pt x="3282" y="4726"/>
                </a:lnTo>
                <a:lnTo>
                  <a:pt x="3282" y="3475"/>
                </a:lnTo>
                <a:lnTo>
                  <a:pt x="5383" y="3475"/>
                </a:lnTo>
                <a:lnTo>
                  <a:pt x="5383" y="4726"/>
                </a:lnTo>
                <a:lnTo>
                  <a:pt x="4726" y="4726"/>
                </a:lnTo>
                <a:lnTo>
                  <a:pt x="4726" y="6302"/>
                </a:lnTo>
                <a:lnTo>
                  <a:pt x="6302" y="6302"/>
                </a:lnTo>
                <a:lnTo>
                  <a:pt x="6302" y="4726"/>
                </a:lnTo>
                <a:lnTo>
                  <a:pt x="5645" y="47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3" name="iṡ1idè"/>
          <p:cNvSpPr/>
          <p:nvPr/>
        </p:nvSpPr>
        <p:spPr bwMode="auto">
          <a:xfrm>
            <a:off x="9199040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grpSp>
        <p:nvGrpSpPr>
          <p:cNvPr id="28" name="组合 27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32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" name="矩形 32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29" grpId="0"/>
      <p:bldP spid="25" grpId="0"/>
      <p:bldP spid="21" grpId="0"/>
      <p:bldP spid="17" grpId="0"/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îṩ1ïḋé"/>
          <p:cNvSpPr/>
          <p:nvPr/>
        </p:nvSpPr>
        <p:spPr>
          <a:xfrm>
            <a:off x="3367699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  <a:endParaRPr lang="en-US" altLang="zh-CN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6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5" name="îṣḷïḓè"/>
          <p:cNvSpPr/>
          <p:nvPr/>
        </p:nvSpPr>
        <p:spPr>
          <a:xfrm>
            <a:off x="5060261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2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6" name="íşḻîḍè"/>
          <p:cNvSpPr/>
          <p:nvPr/>
        </p:nvSpPr>
        <p:spPr>
          <a:xfrm>
            <a:off x="6752824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  <a:endParaRPr lang="en-US" altLang="zh-CN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5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7" name="íSļïḋé"/>
          <p:cNvSpPr/>
          <p:nvPr/>
        </p:nvSpPr>
        <p:spPr bwMode="auto">
          <a:xfrm>
            <a:off x="1783757" y="4897339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8" name="ïṩḷíḓè"/>
          <p:cNvSpPr/>
          <p:nvPr/>
        </p:nvSpPr>
        <p:spPr bwMode="auto">
          <a:xfrm>
            <a:off x="3476319" y="1375633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9" name="ïṡḻiḓé"/>
          <p:cNvSpPr/>
          <p:nvPr/>
        </p:nvSpPr>
        <p:spPr bwMode="auto">
          <a:xfrm>
            <a:off x="5168881" y="4897339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0" name="ïşḷídê"/>
          <p:cNvSpPr/>
          <p:nvPr/>
        </p:nvSpPr>
        <p:spPr>
          <a:xfrm>
            <a:off x="1675137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3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1" name="iṩḻîdè"/>
          <p:cNvSpPr/>
          <p:nvPr/>
        </p:nvSpPr>
        <p:spPr>
          <a:xfrm>
            <a:off x="8445384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8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2" name="ïS1ïḋè"/>
          <p:cNvSpPr/>
          <p:nvPr/>
        </p:nvSpPr>
        <p:spPr bwMode="auto">
          <a:xfrm>
            <a:off x="8554005" y="4897339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3" name="iş1íďé"/>
          <p:cNvSpPr/>
          <p:nvPr/>
        </p:nvSpPr>
        <p:spPr bwMode="auto">
          <a:xfrm>
            <a:off x="6861444" y="1375633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grpSp>
        <p:nvGrpSpPr>
          <p:cNvPr id="17" name="组合 16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18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" name="矩形 18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/>
      <p:bldP spid="8" grpId="0"/>
      <p:bldP spid="9" grpId="0"/>
      <p:bldP spid="10" grpId="0" animBg="1"/>
      <p:bldP spid="11" grpId="0" animBg="1"/>
      <p:bldP spid="12" grpId="0"/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9" imgW="9525" imgH="9525" progId="TCLayout.ActiveDocument.1">
                  <p:embed/>
                </p:oleObj>
              </mc:Choice>
              <mc:Fallback>
                <p:oleObj name="think-cell Slide" r:id="rId9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椭圆 11"/>
          <p:cNvSpPr/>
          <p:nvPr userDrawn="1"/>
        </p:nvSpPr>
        <p:spPr>
          <a:xfrm>
            <a:off x="7738745" y="14757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 userDrawn="1"/>
        </p:nvSpPr>
        <p:spPr>
          <a:xfrm>
            <a:off x="7840345" y="1196340"/>
            <a:ext cx="440055" cy="440055"/>
          </a:xfrm>
          <a:prstGeom prst="ellipse">
            <a:avLst/>
          </a:prstGeom>
          <a:gradFill flip="none">
            <a:gsLst>
              <a:gs pos="51000">
                <a:srgbClr val="226AD0"/>
              </a:gs>
              <a:gs pos="0">
                <a:srgbClr val="0789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-719455" y="-828040"/>
            <a:ext cx="1638935" cy="163893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6" name="矩形 305"/>
          <p:cNvSpPr/>
          <p:nvPr/>
        </p:nvSpPr>
        <p:spPr>
          <a:xfrm>
            <a:off x="1444625" y="2047875"/>
            <a:ext cx="5514340" cy="15684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6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谢谢收听</a:t>
            </a:r>
          </a:p>
        </p:txBody>
      </p:sp>
      <p:sp>
        <p:nvSpPr>
          <p:cNvPr id="37" name="文本占位符 85"/>
          <p:cNvSpPr txBox="1"/>
          <p:nvPr/>
        </p:nvSpPr>
        <p:spPr>
          <a:xfrm>
            <a:off x="1590675" y="3734414"/>
            <a:ext cx="4494530" cy="312420"/>
          </a:xfrm>
          <a:prstGeom prst="rect">
            <a:avLst/>
          </a:prstGeom>
        </p:spPr>
        <p:txBody>
          <a:bodyPr wrap="non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sz="1600" dirty="0">
                <a:solidFill>
                  <a:schemeClr val="bg1"/>
                </a:solidFill>
                <a:latin typeface="+mj-lt"/>
                <a:cs typeface="+mj-lt"/>
                <a:sym typeface="+mn-lt"/>
              </a:rPr>
              <a:t>Template for student defense of chang 'an university</a:t>
            </a:r>
          </a:p>
        </p:txBody>
      </p:sp>
      <p:cxnSp>
        <p:nvCxnSpPr>
          <p:cNvPr id="23" name="直接连接符 22"/>
          <p:cNvCxnSpPr/>
          <p:nvPr/>
        </p:nvCxnSpPr>
        <p:spPr>
          <a:xfrm>
            <a:off x="1590675" y="3615690"/>
            <a:ext cx="4292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/>
          <p:cNvSpPr/>
          <p:nvPr userDrawn="1"/>
        </p:nvSpPr>
        <p:spPr>
          <a:xfrm>
            <a:off x="1134745" y="19329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Content Placeholder 2"/>
          <p:cNvSpPr txBox="1"/>
          <p:nvPr/>
        </p:nvSpPr>
        <p:spPr>
          <a:xfrm>
            <a:off x="1616075" y="5487670"/>
            <a:ext cx="4987925" cy="104965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汇报：</a:t>
            </a:r>
            <a:r>
              <a:rPr lang="en-US" altLang="zh-CN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PPT818</a:t>
            </a:r>
          </a:p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时间：</a:t>
            </a:r>
            <a:r>
              <a:rPr lang="en-US" altLang="zh-CN" sz="1600" smtClean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20XX-XX-XX</a:t>
            </a:r>
            <a:endParaRPr lang="en-US" altLang="zh-CN" sz="1600" dirty="0">
              <a:solidFill>
                <a:srgbClr val="0870D3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28" name="a2f6f956-74f0-4e48-b063-fde34c17ff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899275" y="2625725"/>
            <a:ext cx="4838065" cy="3284855"/>
            <a:chOff x="2860675" y="1228726"/>
            <a:chExt cx="6484938" cy="4402138"/>
          </a:xfrm>
        </p:grpSpPr>
        <p:sp>
          <p:nvSpPr>
            <p:cNvPr id="29" name="îṩḻíḑê"/>
            <p:cNvSpPr/>
            <p:nvPr/>
          </p:nvSpPr>
          <p:spPr bwMode="auto">
            <a:xfrm>
              <a:off x="6132513" y="1744663"/>
              <a:ext cx="2038350" cy="2060575"/>
            </a:xfrm>
            <a:custGeom>
              <a:avLst/>
              <a:gdLst>
                <a:gd name="T0" fmla="*/ 53 w 139"/>
                <a:gd name="T1" fmla="*/ 9 h 140"/>
                <a:gd name="T2" fmla="*/ 8 w 139"/>
                <a:gd name="T3" fmla="*/ 86 h 140"/>
                <a:gd name="T4" fmla="*/ 85 w 139"/>
                <a:gd name="T5" fmla="*/ 131 h 140"/>
                <a:gd name="T6" fmla="*/ 130 w 139"/>
                <a:gd name="T7" fmla="*/ 54 h 140"/>
                <a:gd name="T8" fmla="*/ 53 w 139"/>
                <a:gd name="T9" fmla="*/ 9 h 140"/>
                <a:gd name="T10" fmla="*/ 78 w 139"/>
                <a:gd name="T11" fmla="*/ 102 h 140"/>
                <a:gd name="T12" fmla="*/ 37 w 139"/>
                <a:gd name="T13" fmla="*/ 79 h 140"/>
                <a:gd name="T14" fmla="*/ 61 w 139"/>
                <a:gd name="T15" fmla="*/ 38 h 140"/>
                <a:gd name="T16" fmla="*/ 101 w 139"/>
                <a:gd name="T17" fmla="*/ 62 h 140"/>
                <a:gd name="T18" fmla="*/ 78 w 139"/>
                <a:gd name="T19" fmla="*/ 10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40">
                  <a:moveTo>
                    <a:pt x="53" y="9"/>
                  </a:moveTo>
                  <a:cubicBezTo>
                    <a:pt x="20" y="18"/>
                    <a:pt x="0" y="53"/>
                    <a:pt x="8" y="86"/>
                  </a:cubicBezTo>
                  <a:cubicBezTo>
                    <a:pt x="17" y="120"/>
                    <a:pt x="52" y="140"/>
                    <a:pt x="85" y="131"/>
                  </a:cubicBezTo>
                  <a:cubicBezTo>
                    <a:pt x="119" y="122"/>
                    <a:pt x="139" y="88"/>
                    <a:pt x="130" y="54"/>
                  </a:cubicBezTo>
                  <a:cubicBezTo>
                    <a:pt x="121" y="21"/>
                    <a:pt x="87" y="0"/>
                    <a:pt x="53" y="9"/>
                  </a:cubicBezTo>
                  <a:close/>
                  <a:moveTo>
                    <a:pt x="78" y="102"/>
                  </a:moveTo>
                  <a:cubicBezTo>
                    <a:pt x="60" y="107"/>
                    <a:pt x="42" y="96"/>
                    <a:pt x="37" y="79"/>
                  </a:cubicBezTo>
                  <a:cubicBezTo>
                    <a:pt x="33" y="61"/>
                    <a:pt x="43" y="43"/>
                    <a:pt x="61" y="38"/>
                  </a:cubicBezTo>
                  <a:cubicBezTo>
                    <a:pt x="79" y="34"/>
                    <a:pt x="97" y="44"/>
                    <a:pt x="101" y="62"/>
                  </a:cubicBezTo>
                  <a:cubicBezTo>
                    <a:pt x="106" y="80"/>
                    <a:pt x="95" y="98"/>
                    <a:pt x="78" y="10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işḷîḓe"/>
            <p:cNvSpPr/>
            <p:nvPr/>
          </p:nvSpPr>
          <p:spPr bwMode="auto">
            <a:xfrm>
              <a:off x="6616700" y="1582738"/>
              <a:ext cx="557213" cy="558800"/>
            </a:xfrm>
            <a:custGeom>
              <a:avLst/>
              <a:gdLst>
                <a:gd name="T0" fmla="*/ 38 w 38"/>
                <a:gd name="T1" fmla="*/ 31 h 38"/>
                <a:gd name="T2" fmla="*/ 11 w 38"/>
                <a:gd name="T3" fmla="*/ 38 h 38"/>
                <a:gd name="T4" fmla="*/ 4 w 38"/>
                <a:gd name="T5" fmla="*/ 11 h 38"/>
                <a:gd name="T6" fmla="*/ 31 w 38"/>
                <a:gd name="T7" fmla="*/ 4 h 38"/>
                <a:gd name="T8" fmla="*/ 38 w 38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1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0" y="17"/>
                    <a:pt x="4" y="11"/>
                  </a:cubicBezTo>
                  <a:cubicBezTo>
                    <a:pt x="7" y="5"/>
                    <a:pt x="25" y="0"/>
                    <a:pt x="31" y="4"/>
                  </a:cubicBezTo>
                  <a:cubicBezTo>
                    <a:pt x="37" y="8"/>
                    <a:pt x="38" y="31"/>
                    <a:pt x="38" y="31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ïşḷíḍé"/>
            <p:cNvSpPr/>
            <p:nvPr/>
          </p:nvSpPr>
          <p:spPr bwMode="auto">
            <a:xfrm>
              <a:off x="7100888" y="3436938"/>
              <a:ext cx="542925" cy="544513"/>
            </a:xfrm>
            <a:custGeom>
              <a:avLst/>
              <a:gdLst>
                <a:gd name="T0" fmla="*/ 27 w 37"/>
                <a:gd name="T1" fmla="*/ 0 h 37"/>
                <a:gd name="T2" fmla="*/ 0 w 37"/>
                <a:gd name="T3" fmla="*/ 7 h 37"/>
                <a:gd name="T4" fmla="*/ 7 w 37"/>
                <a:gd name="T5" fmla="*/ 33 h 37"/>
                <a:gd name="T6" fmla="*/ 34 w 37"/>
                <a:gd name="T7" fmla="*/ 26 h 37"/>
                <a:gd name="T8" fmla="*/ 27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30"/>
                    <a:pt x="7" y="33"/>
                  </a:cubicBezTo>
                  <a:cubicBezTo>
                    <a:pt x="13" y="37"/>
                    <a:pt x="32" y="33"/>
                    <a:pt x="34" y="26"/>
                  </a:cubicBezTo>
                  <a:cubicBezTo>
                    <a:pt x="37" y="20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íṩḻïḓè"/>
            <p:cNvSpPr/>
            <p:nvPr/>
          </p:nvSpPr>
          <p:spPr bwMode="auto">
            <a:xfrm>
              <a:off x="6043613" y="2052638"/>
              <a:ext cx="573088" cy="574675"/>
            </a:xfrm>
            <a:custGeom>
              <a:avLst/>
              <a:gdLst>
                <a:gd name="T0" fmla="*/ 39 w 39"/>
                <a:gd name="T1" fmla="*/ 13 h 39"/>
                <a:gd name="T2" fmla="*/ 28 w 39"/>
                <a:gd name="T3" fmla="*/ 39 h 39"/>
                <a:gd name="T4" fmla="*/ 2 w 39"/>
                <a:gd name="T5" fmla="*/ 28 h 39"/>
                <a:gd name="T6" fmla="*/ 13 w 39"/>
                <a:gd name="T7" fmla="*/ 2 h 39"/>
                <a:gd name="T8" fmla="*/ 39 w 39"/>
                <a:gd name="T9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9" y="13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5" y="34"/>
                    <a:pt x="2" y="28"/>
                  </a:cubicBezTo>
                  <a:cubicBezTo>
                    <a:pt x="0" y="22"/>
                    <a:pt x="7" y="4"/>
                    <a:pt x="13" y="2"/>
                  </a:cubicBezTo>
                  <a:cubicBezTo>
                    <a:pt x="20" y="0"/>
                    <a:pt x="39" y="13"/>
                    <a:pt x="39" y="13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ïşḻîďê"/>
            <p:cNvSpPr/>
            <p:nvPr/>
          </p:nvSpPr>
          <p:spPr bwMode="auto">
            <a:xfrm>
              <a:off x="5956300" y="2774951"/>
              <a:ext cx="528638" cy="544513"/>
            </a:xfrm>
            <a:custGeom>
              <a:avLst/>
              <a:gdLst>
                <a:gd name="T0" fmla="*/ 33 w 36"/>
                <a:gd name="T1" fmla="*/ 2 h 37"/>
                <a:gd name="T2" fmla="*/ 36 w 36"/>
                <a:gd name="T3" fmla="*/ 31 h 37"/>
                <a:gd name="T4" fmla="*/ 8 w 36"/>
                <a:gd name="T5" fmla="*/ 33 h 37"/>
                <a:gd name="T6" fmla="*/ 5 w 36"/>
                <a:gd name="T7" fmla="*/ 5 h 37"/>
                <a:gd name="T8" fmla="*/ 33 w 36"/>
                <a:gd name="T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3" y="2"/>
                  </a:move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13" y="37"/>
                    <a:pt x="8" y="33"/>
                  </a:cubicBezTo>
                  <a:cubicBezTo>
                    <a:pt x="3" y="29"/>
                    <a:pt x="0" y="10"/>
                    <a:pt x="5" y="5"/>
                  </a:cubicBezTo>
                  <a:cubicBezTo>
                    <a:pt x="10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iṩļïḍè"/>
            <p:cNvSpPr/>
            <p:nvPr/>
          </p:nvSpPr>
          <p:spPr bwMode="auto">
            <a:xfrm>
              <a:off x="7804150" y="2274888"/>
              <a:ext cx="542925" cy="544513"/>
            </a:xfrm>
            <a:custGeom>
              <a:avLst/>
              <a:gdLst>
                <a:gd name="T0" fmla="*/ 6 w 37"/>
                <a:gd name="T1" fmla="*/ 37 h 37"/>
                <a:gd name="T2" fmla="*/ 0 w 37"/>
                <a:gd name="T3" fmla="*/ 10 h 37"/>
                <a:gd name="T4" fmla="*/ 27 w 37"/>
                <a:gd name="T5" fmla="*/ 4 h 37"/>
                <a:gd name="T6" fmla="*/ 33 w 37"/>
                <a:gd name="T7" fmla="*/ 31 h 37"/>
                <a:gd name="T8" fmla="*/ 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1" y="0"/>
                    <a:pt x="27" y="4"/>
                  </a:cubicBezTo>
                  <a:cubicBezTo>
                    <a:pt x="33" y="8"/>
                    <a:pt x="37" y="26"/>
                    <a:pt x="33" y="31"/>
                  </a:cubicBezTo>
                  <a:cubicBezTo>
                    <a:pt x="29" y="37"/>
                    <a:pt x="6" y="37"/>
                    <a:pt x="6" y="3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îSlíḓê"/>
            <p:cNvSpPr/>
            <p:nvPr/>
          </p:nvSpPr>
          <p:spPr bwMode="auto">
            <a:xfrm>
              <a:off x="7335838" y="1685926"/>
              <a:ext cx="585788" cy="603250"/>
            </a:xfrm>
            <a:custGeom>
              <a:avLst/>
              <a:gdLst>
                <a:gd name="T0" fmla="*/ 0 w 40"/>
                <a:gd name="T1" fmla="*/ 24 h 41"/>
                <a:gd name="T2" fmla="*/ 23 w 40"/>
                <a:gd name="T3" fmla="*/ 41 h 41"/>
                <a:gd name="T4" fmla="*/ 40 w 40"/>
                <a:gd name="T5" fmla="*/ 19 h 41"/>
                <a:gd name="T6" fmla="*/ 17 w 40"/>
                <a:gd name="T7" fmla="*/ 2 h 41"/>
                <a:gd name="T8" fmla="*/ 0 w 40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0" y="24"/>
                  </a:move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40" y="26"/>
                    <a:pt x="40" y="19"/>
                  </a:cubicBezTo>
                  <a:cubicBezTo>
                    <a:pt x="39" y="12"/>
                    <a:pt x="24" y="0"/>
                    <a:pt x="17" y="2"/>
                  </a:cubicBezTo>
                  <a:cubicBezTo>
                    <a:pt x="10" y="3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íṧḻidé"/>
            <p:cNvSpPr/>
            <p:nvPr/>
          </p:nvSpPr>
          <p:spPr bwMode="auto">
            <a:xfrm>
              <a:off x="6308725" y="3305176"/>
              <a:ext cx="585788" cy="603250"/>
            </a:xfrm>
            <a:custGeom>
              <a:avLst/>
              <a:gdLst>
                <a:gd name="T0" fmla="*/ 40 w 40"/>
                <a:gd name="T1" fmla="*/ 17 h 41"/>
                <a:gd name="T2" fmla="*/ 18 w 40"/>
                <a:gd name="T3" fmla="*/ 0 h 41"/>
                <a:gd name="T4" fmla="*/ 1 w 40"/>
                <a:gd name="T5" fmla="*/ 22 h 41"/>
                <a:gd name="T6" fmla="*/ 23 w 40"/>
                <a:gd name="T7" fmla="*/ 39 h 41"/>
                <a:gd name="T8" fmla="*/ 40 w 40"/>
                <a:gd name="T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40" y="17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0" y="15"/>
                    <a:pt x="1" y="22"/>
                  </a:cubicBezTo>
                  <a:cubicBezTo>
                    <a:pt x="2" y="29"/>
                    <a:pt x="17" y="41"/>
                    <a:pt x="23" y="39"/>
                  </a:cubicBezTo>
                  <a:cubicBezTo>
                    <a:pt x="30" y="38"/>
                    <a:pt x="40" y="17"/>
                    <a:pt x="40" y="1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íşľiďê"/>
            <p:cNvSpPr/>
            <p:nvPr/>
          </p:nvSpPr>
          <p:spPr bwMode="auto">
            <a:xfrm>
              <a:off x="7702550" y="2981326"/>
              <a:ext cx="571500" cy="558800"/>
            </a:xfrm>
            <a:custGeom>
              <a:avLst/>
              <a:gdLst>
                <a:gd name="T0" fmla="*/ 0 w 39"/>
                <a:gd name="T1" fmla="*/ 26 h 38"/>
                <a:gd name="T2" fmla="*/ 11 w 39"/>
                <a:gd name="T3" fmla="*/ 0 h 38"/>
                <a:gd name="T4" fmla="*/ 37 w 39"/>
                <a:gd name="T5" fmla="*/ 10 h 38"/>
                <a:gd name="T6" fmla="*/ 26 w 39"/>
                <a:gd name="T7" fmla="*/ 37 h 38"/>
                <a:gd name="T8" fmla="*/ 0 w 39"/>
                <a:gd name="T9" fmla="*/ 2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0" y="2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34" y="4"/>
                    <a:pt x="37" y="10"/>
                  </a:cubicBezTo>
                  <a:cubicBezTo>
                    <a:pt x="39" y="17"/>
                    <a:pt x="32" y="35"/>
                    <a:pt x="26" y="37"/>
                  </a:cubicBezTo>
                  <a:cubicBezTo>
                    <a:pt x="19" y="38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ïşļîḑé"/>
            <p:cNvSpPr/>
            <p:nvPr/>
          </p:nvSpPr>
          <p:spPr bwMode="auto">
            <a:xfrm>
              <a:off x="8259763" y="3348038"/>
              <a:ext cx="982663" cy="1001713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iṡ1ïḍè"/>
            <p:cNvSpPr/>
            <p:nvPr/>
          </p:nvSpPr>
          <p:spPr bwMode="auto">
            <a:xfrm>
              <a:off x="8494713" y="3275013"/>
              <a:ext cx="263525" cy="265113"/>
            </a:xfrm>
            <a:custGeom>
              <a:avLst/>
              <a:gdLst>
                <a:gd name="T0" fmla="*/ 18 w 18"/>
                <a:gd name="T1" fmla="*/ 15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5"/>
                    <a:pt x="18" y="15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íSļíďè"/>
            <p:cNvSpPr/>
            <p:nvPr/>
          </p:nvSpPr>
          <p:spPr bwMode="auto">
            <a:xfrm>
              <a:off x="8729663" y="4157663"/>
              <a:ext cx="263525" cy="280988"/>
            </a:xfrm>
            <a:custGeom>
              <a:avLst/>
              <a:gdLst>
                <a:gd name="T0" fmla="*/ 13 w 18"/>
                <a:gd name="T1" fmla="*/ 0 h 19"/>
                <a:gd name="T2" fmla="*/ 0 w 18"/>
                <a:gd name="T3" fmla="*/ 4 h 19"/>
                <a:gd name="T4" fmla="*/ 3 w 18"/>
                <a:gd name="T5" fmla="*/ 17 h 19"/>
                <a:gd name="T6" fmla="*/ 17 w 18"/>
                <a:gd name="T7" fmla="*/ 13 h 19"/>
                <a:gd name="T8" fmla="*/ 13 w 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9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işḷïḍe"/>
            <p:cNvSpPr/>
            <p:nvPr/>
          </p:nvSpPr>
          <p:spPr bwMode="auto">
            <a:xfrm>
              <a:off x="8215313" y="3495676"/>
              <a:ext cx="279400" cy="279400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1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íṧḻíḍê"/>
            <p:cNvSpPr/>
            <p:nvPr/>
          </p:nvSpPr>
          <p:spPr bwMode="auto">
            <a:xfrm>
              <a:off x="8170863" y="3849688"/>
              <a:ext cx="250825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ísļîďè"/>
            <p:cNvSpPr/>
            <p:nvPr/>
          </p:nvSpPr>
          <p:spPr bwMode="auto">
            <a:xfrm>
              <a:off x="9066213" y="3598863"/>
              <a:ext cx="265113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îsļîḍè"/>
            <p:cNvSpPr/>
            <p:nvPr/>
          </p:nvSpPr>
          <p:spPr bwMode="auto">
            <a:xfrm>
              <a:off x="8847138" y="3319463"/>
              <a:ext cx="277813" cy="293688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ïṩlîḑe"/>
            <p:cNvSpPr/>
            <p:nvPr/>
          </p:nvSpPr>
          <p:spPr bwMode="auto">
            <a:xfrm>
              <a:off x="8347075" y="4098926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ïş1iďê"/>
            <p:cNvSpPr/>
            <p:nvPr/>
          </p:nvSpPr>
          <p:spPr bwMode="auto">
            <a:xfrm>
              <a:off x="9021763" y="3937001"/>
              <a:ext cx="279400" cy="279400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iSļîdê"/>
            <p:cNvSpPr/>
            <p:nvPr/>
          </p:nvSpPr>
          <p:spPr bwMode="auto">
            <a:xfrm>
              <a:off x="3887788" y="1303338"/>
              <a:ext cx="982663" cy="1000125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ïṣḻiḑè"/>
            <p:cNvSpPr/>
            <p:nvPr/>
          </p:nvSpPr>
          <p:spPr bwMode="auto">
            <a:xfrm>
              <a:off x="4122738" y="1228726"/>
              <a:ext cx="263525" cy="265113"/>
            </a:xfrm>
            <a:custGeom>
              <a:avLst/>
              <a:gdLst>
                <a:gd name="T0" fmla="*/ 18 w 18"/>
                <a:gd name="T1" fmla="*/ 14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4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4"/>
                    <a:pt x="18" y="14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îŝ1iḓê"/>
            <p:cNvSpPr/>
            <p:nvPr/>
          </p:nvSpPr>
          <p:spPr bwMode="auto">
            <a:xfrm>
              <a:off x="4356100" y="2112963"/>
              <a:ext cx="265113" cy="263525"/>
            </a:xfrm>
            <a:custGeom>
              <a:avLst/>
              <a:gdLst>
                <a:gd name="T0" fmla="*/ 13 w 18"/>
                <a:gd name="T1" fmla="*/ 0 h 18"/>
                <a:gd name="T2" fmla="*/ 0 w 18"/>
                <a:gd name="T3" fmla="*/ 4 h 18"/>
                <a:gd name="T4" fmla="*/ 3 w 18"/>
                <a:gd name="T5" fmla="*/ 17 h 18"/>
                <a:gd name="T6" fmla="*/ 17 w 18"/>
                <a:gd name="T7" fmla="*/ 13 h 18"/>
                <a:gd name="T8" fmla="*/ 13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8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ïṩļíďê"/>
            <p:cNvSpPr/>
            <p:nvPr/>
          </p:nvSpPr>
          <p:spPr bwMode="auto">
            <a:xfrm>
              <a:off x="3843338" y="1449388"/>
              <a:ext cx="279400" cy="280988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0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îṧ1îḑè"/>
            <p:cNvSpPr/>
            <p:nvPr/>
          </p:nvSpPr>
          <p:spPr bwMode="auto">
            <a:xfrm>
              <a:off x="3798888" y="1803401"/>
              <a:ext cx="249238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ï$lîḑê"/>
            <p:cNvSpPr/>
            <p:nvPr/>
          </p:nvSpPr>
          <p:spPr bwMode="auto">
            <a:xfrm>
              <a:off x="4694238" y="1552576"/>
              <a:ext cx="263525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ïS1îďé"/>
            <p:cNvSpPr/>
            <p:nvPr/>
          </p:nvSpPr>
          <p:spPr bwMode="auto">
            <a:xfrm>
              <a:off x="4473575" y="1273176"/>
              <a:ext cx="279400" cy="295275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íšḷïďê"/>
            <p:cNvSpPr/>
            <p:nvPr/>
          </p:nvSpPr>
          <p:spPr bwMode="auto">
            <a:xfrm>
              <a:off x="3975100" y="2052638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iṣlíḍè"/>
            <p:cNvSpPr/>
            <p:nvPr/>
          </p:nvSpPr>
          <p:spPr bwMode="auto">
            <a:xfrm>
              <a:off x="4649788" y="1890713"/>
              <a:ext cx="279400" cy="280988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iŝ1îďe"/>
            <p:cNvSpPr/>
            <p:nvPr/>
          </p:nvSpPr>
          <p:spPr bwMode="auto">
            <a:xfrm>
              <a:off x="3359150" y="2641601"/>
              <a:ext cx="4503738" cy="2620963"/>
            </a:xfrm>
            <a:custGeom>
              <a:avLst/>
              <a:gdLst>
                <a:gd name="T0" fmla="*/ 294 w 307"/>
                <a:gd name="T1" fmla="*/ 0 h 178"/>
                <a:gd name="T2" fmla="*/ 307 w 307"/>
                <a:gd name="T3" fmla="*/ 14 h 178"/>
                <a:gd name="T4" fmla="*/ 307 w 307"/>
                <a:gd name="T5" fmla="*/ 164 h 178"/>
                <a:gd name="T6" fmla="*/ 293 w 307"/>
                <a:gd name="T7" fmla="*/ 177 h 178"/>
                <a:gd name="T8" fmla="*/ 14 w 307"/>
                <a:gd name="T9" fmla="*/ 177 h 178"/>
                <a:gd name="T10" fmla="*/ 0 w 307"/>
                <a:gd name="T11" fmla="*/ 163 h 178"/>
                <a:gd name="T12" fmla="*/ 1 w 307"/>
                <a:gd name="T13" fmla="*/ 13 h 178"/>
                <a:gd name="T14" fmla="*/ 14 w 307"/>
                <a:gd name="T15" fmla="*/ 0 h 178"/>
                <a:gd name="T16" fmla="*/ 294 w 307"/>
                <a:gd name="T17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178">
                  <a:moveTo>
                    <a:pt x="294" y="0"/>
                  </a:moveTo>
                  <a:cubicBezTo>
                    <a:pt x="301" y="0"/>
                    <a:pt x="307" y="7"/>
                    <a:pt x="307" y="1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307" y="171"/>
                    <a:pt x="301" y="178"/>
                    <a:pt x="293" y="177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6" y="177"/>
                    <a:pt x="0" y="171"/>
                    <a:pt x="0" y="16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6"/>
                    <a:pt x="7" y="0"/>
                    <a:pt x="14" y="0"/>
                  </a:cubicBezTo>
                  <a:lnTo>
                    <a:pt x="29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îS1îdè"/>
            <p:cNvSpPr/>
            <p:nvPr/>
          </p:nvSpPr>
          <p:spPr bwMode="auto">
            <a:xfrm>
              <a:off x="3638550" y="2847976"/>
              <a:ext cx="3594100" cy="2208213"/>
            </a:xfrm>
            <a:custGeom>
              <a:avLst/>
              <a:gdLst>
                <a:gd name="T0" fmla="*/ 2264 w 2264"/>
                <a:gd name="T1" fmla="*/ 9 h 1391"/>
                <a:gd name="T2" fmla="*/ 2255 w 2264"/>
                <a:gd name="T3" fmla="*/ 1391 h 1391"/>
                <a:gd name="T4" fmla="*/ 0 w 2264"/>
                <a:gd name="T5" fmla="*/ 1382 h 1391"/>
                <a:gd name="T6" fmla="*/ 9 w 2264"/>
                <a:gd name="T7" fmla="*/ 0 h 1391"/>
                <a:gd name="T8" fmla="*/ 2264 w 2264"/>
                <a:gd name="T9" fmla="*/ 9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4" h="1391">
                  <a:moveTo>
                    <a:pt x="2264" y="9"/>
                  </a:moveTo>
                  <a:lnTo>
                    <a:pt x="2255" y="1391"/>
                  </a:lnTo>
                  <a:lnTo>
                    <a:pt x="0" y="1382"/>
                  </a:lnTo>
                  <a:lnTo>
                    <a:pt x="9" y="0"/>
                  </a:lnTo>
                  <a:lnTo>
                    <a:pt x="2264" y="9"/>
                  </a:lnTo>
                  <a:close/>
                </a:path>
              </a:pathLst>
            </a:custGeom>
            <a:solidFill>
              <a:srgbClr val="B9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iş1iḋé"/>
            <p:cNvSpPr/>
            <p:nvPr/>
          </p:nvSpPr>
          <p:spPr bwMode="auto">
            <a:xfrm>
              <a:off x="7350125" y="3760788"/>
              <a:ext cx="366713" cy="382588"/>
            </a:xfrm>
            <a:prstGeom prst="ellipse">
              <a:avLst/>
            </a:prstGeom>
            <a:solidFill>
              <a:srgbClr val="ECEB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îSļïďe"/>
            <p:cNvSpPr/>
            <p:nvPr/>
          </p:nvSpPr>
          <p:spPr bwMode="auto">
            <a:xfrm>
              <a:off x="2860675" y="3643313"/>
              <a:ext cx="2597150" cy="1177925"/>
            </a:xfrm>
            <a:prstGeom prst="rect">
              <a:avLst/>
            </a:prstGeom>
            <a:solidFill>
              <a:srgbClr val="EE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iṧḻiḓê"/>
            <p:cNvSpPr/>
            <p:nvPr/>
          </p:nvSpPr>
          <p:spPr bwMode="auto">
            <a:xfrm>
              <a:off x="3036888" y="3952876"/>
              <a:ext cx="176213" cy="7207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iṣḻïḍê"/>
            <p:cNvSpPr/>
            <p:nvPr/>
          </p:nvSpPr>
          <p:spPr bwMode="auto">
            <a:xfrm>
              <a:off x="3255963" y="4143376"/>
              <a:ext cx="206375" cy="530225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ïś1ïdê"/>
            <p:cNvSpPr/>
            <p:nvPr/>
          </p:nvSpPr>
          <p:spPr bwMode="auto">
            <a:xfrm>
              <a:off x="3521075" y="4054476"/>
              <a:ext cx="190500" cy="6191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îšḷíďe"/>
            <p:cNvSpPr/>
            <p:nvPr/>
          </p:nvSpPr>
          <p:spPr bwMode="auto">
            <a:xfrm>
              <a:off x="3740150" y="4305301"/>
              <a:ext cx="206375" cy="36830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ïšlíḑè"/>
            <p:cNvSpPr/>
            <p:nvPr/>
          </p:nvSpPr>
          <p:spPr bwMode="auto">
            <a:xfrm>
              <a:off x="4283075" y="4187826"/>
              <a:ext cx="1041400" cy="485775"/>
            </a:xfrm>
            <a:custGeom>
              <a:avLst/>
              <a:gdLst>
                <a:gd name="T0" fmla="*/ 0 w 71"/>
                <a:gd name="T1" fmla="*/ 6 h 33"/>
                <a:gd name="T2" fmla="*/ 10 w 71"/>
                <a:gd name="T3" fmla="*/ 0 h 33"/>
                <a:gd name="T4" fmla="*/ 16 w 71"/>
                <a:gd name="T5" fmla="*/ 3 h 33"/>
                <a:gd name="T6" fmla="*/ 26 w 71"/>
                <a:gd name="T7" fmla="*/ 13 h 33"/>
                <a:gd name="T8" fmla="*/ 34 w 71"/>
                <a:gd name="T9" fmla="*/ 6 h 33"/>
                <a:gd name="T10" fmla="*/ 37 w 71"/>
                <a:gd name="T11" fmla="*/ 8 h 33"/>
                <a:gd name="T12" fmla="*/ 42 w 71"/>
                <a:gd name="T13" fmla="*/ 11 h 33"/>
                <a:gd name="T14" fmla="*/ 47 w 71"/>
                <a:gd name="T15" fmla="*/ 13 h 33"/>
                <a:gd name="T16" fmla="*/ 57 w 71"/>
                <a:gd name="T17" fmla="*/ 14 h 33"/>
                <a:gd name="T18" fmla="*/ 61 w 71"/>
                <a:gd name="T19" fmla="*/ 22 h 33"/>
                <a:gd name="T20" fmla="*/ 71 w 71"/>
                <a:gd name="T21" fmla="*/ 21 h 33"/>
                <a:gd name="T22" fmla="*/ 71 w 71"/>
                <a:gd name="T23" fmla="*/ 33 h 33"/>
                <a:gd name="T24" fmla="*/ 0 w 71"/>
                <a:gd name="T25" fmla="*/ 33 h 33"/>
                <a:gd name="T26" fmla="*/ 0 w 71"/>
                <a:gd name="T27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33">
                  <a:moveTo>
                    <a:pt x="0" y="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55" y="14"/>
                    <a:pt x="57" y="14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ïśḷïḍe"/>
            <p:cNvSpPr/>
            <p:nvPr/>
          </p:nvSpPr>
          <p:spPr bwMode="auto">
            <a:xfrm>
              <a:off x="4283075" y="4481513"/>
              <a:ext cx="1041400" cy="192088"/>
            </a:xfrm>
            <a:custGeom>
              <a:avLst/>
              <a:gdLst>
                <a:gd name="T0" fmla="*/ 0 w 656"/>
                <a:gd name="T1" fmla="*/ 47 h 121"/>
                <a:gd name="T2" fmla="*/ 93 w 656"/>
                <a:gd name="T3" fmla="*/ 0 h 121"/>
                <a:gd name="T4" fmla="*/ 130 w 656"/>
                <a:gd name="T5" fmla="*/ 37 h 121"/>
                <a:gd name="T6" fmla="*/ 167 w 656"/>
                <a:gd name="T7" fmla="*/ 47 h 121"/>
                <a:gd name="T8" fmla="*/ 250 w 656"/>
                <a:gd name="T9" fmla="*/ 19 h 121"/>
                <a:gd name="T10" fmla="*/ 296 w 656"/>
                <a:gd name="T11" fmla="*/ 47 h 121"/>
                <a:gd name="T12" fmla="*/ 361 w 656"/>
                <a:gd name="T13" fmla="*/ 75 h 121"/>
                <a:gd name="T14" fmla="*/ 435 w 656"/>
                <a:gd name="T15" fmla="*/ 93 h 121"/>
                <a:gd name="T16" fmla="*/ 527 w 656"/>
                <a:gd name="T17" fmla="*/ 93 h 121"/>
                <a:gd name="T18" fmla="*/ 583 w 656"/>
                <a:gd name="T19" fmla="*/ 93 h 121"/>
                <a:gd name="T20" fmla="*/ 656 w 656"/>
                <a:gd name="T21" fmla="*/ 121 h 121"/>
                <a:gd name="T22" fmla="*/ 0 w 656"/>
                <a:gd name="T23" fmla="*/ 121 h 121"/>
                <a:gd name="T24" fmla="*/ 0 w 656"/>
                <a:gd name="T25" fmla="*/ 4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6" h="121">
                  <a:moveTo>
                    <a:pt x="0" y="47"/>
                  </a:moveTo>
                  <a:lnTo>
                    <a:pt x="93" y="0"/>
                  </a:lnTo>
                  <a:lnTo>
                    <a:pt x="130" y="37"/>
                  </a:lnTo>
                  <a:lnTo>
                    <a:pt x="167" y="47"/>
                  </a:lnTo>
                  <a:lnTo>
                    <a:pt x="250" y="19"/>
                  </a:lnTo>
                  <a:lnTo>
                    <a:pt x="296" y="47"/>
                  </a:lnTo>
                  <a:lnTo>
                    <a:pt x="361" y="75"/>
                  </a:lnTo>
                  <a:lnTo>
                    <a:pt x="435" y="93"/>
                  </a:lnTo>
                  <a:lnTo>
                    <a:pt x="527" y="93"/>
                  </a:lnTo>
                  <a:lnTo>
                    <a:pt x="583" y="93"/>
                  </a:lnTo>
                  <a:lnTo>
                    <a:pt x="656" y="121"/>
                  </a:lnTo>
                  <a:lnTo>
                    <a:pt x="0" y="121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íṡľíḍé"/>
            <p:cNvSpPr/>
            <p:nvPr/>
          </p:nvSpPr>
          <p:spPr bwMode="auto">
            <a:xfrm>
              <a:off x="5749925" y="4202113"/>
              <a:ext cx="660400" cy="1060450"/>
            </a:xfrm>
            <a:custGeom>
              <a:avLst/>
              <a:gdLst>
                <a:gd name="T0" fmla="*/ 416 w 416"/>
                <a:gd name="T1" fmla="*/ 659 h 668"/>
                <a:gd name="T2" fmla="*/ 0 w 416"/>
                <a:gd name="T3" fmla="*/ 668 h 668"/>
                <a:gd name="T4" fmla="*/ 10 w 416"/>
                <a:gd name="T5" fmla="*/ 0 h 668"/>
                <a:gd name="T6" fmla="*/ 416 w 416"/>
                <a:gd name="T7" fmla="*/ 0 h 668"/>
                <a:gd name="T8" fmla="*/ 416 w 416"/>
                <a:gd name="T9" fmla="*/ 659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668">
                  <a:moveTo>
                    <a:pt x="416" y="659"/>
                  </a:moveTo>
                  <a:lnTo>
                    <a:pt x="0" y="668"/>
                  </a:lnTo>
                  <a:lnTo>
                    <a:pt x="10" y="0"/>
                  </a:lnTo>
                  <a:lnTo>
                    <a:pt x="416" y="0"/>
                  </a:lnTo>
                  <a:lnTo>
                    <a:pt x="416" y="659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î$ľiḋe"/>
            <p:cNvSpPr/>
            <p:nvPr/>
          </p:nvSpPr>
          <p:spPr bwMode="auto">
            <a:xfrm>
              <a:off x="6557963" y="4481513"/>
              <a:ext cx="703263" cy="766763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îšḻîḋe"/>
            <p:cNvSpPr/>
            <p:nvPr/>
          </p:nvSpPr>
          <p:spPr bwMode="auto">
            <a:xfrm>
              <a:off x="7467600" y="4364038"/>
              <a:ext cx="660400" cy="8842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íṧḻïḍê"/>
            <p:cNvSpPr/>
            <p:nvPr/>
          </p:nvSpPr>
          <p:spPr bwMode="auto">
            <a:xfrm>
              <a:off x="8259763" y="4732338"/>
              <a:ext cx="719138" cy="5159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îŝ1îďe"/>
            <p:cNvSpPr/>
            <p:nvPr/>
          </p:nvSpPr>
          <p:spPr bwMode="auto">
            <a:xfrm>
              <a:off x="4240213" y="1951038"/>
              <a:ext cx="5002213" cy="2133600"/>
            </a:xfrm>
            <a:custGeom>
              <a:avLst/>
              <a:gdLst>
                <a:gd name="T0" fmla="*/ 3151 w 3151"/>
                <a:gd name="T1" fmla="*/ 408 h 1344"/>
                <a:gd name="T2" fmla="*/ 2495 w 3151"/>
                <a:gd name="T3" fmla="*/ 519 h 1344"/>
                <a:gd name="T4" fmla="*/ 2495 w 3151"/>
                <a:gd name="T5" fmla="*/ 945 h 1344"/>
                <a:gd name="T6" fmla="*/ 2088 w 3151"/>
                <a:gd name="T7" fmla="*/ 751 h 1344"/>
                <a:gd name="T8" fmla="*/ 1885 w 3151"/>
                <a:gd name="T9" fmla="*/ 1094 h 1344"/>
                <a:gd name="T10" fmla="*/ 1876 w 3151"/>
                <a:gd name="T11" fmla="*/ 1084 h 1344"/>
                <a:gd name="T12" fmla="*/ 739 w 3151"/>
                <a:gd name="T13" fmla="*/ 630 h 1344"/>
                <a:gd name="T14" fmla="*/ 711 w 3151"/>
                <a:gd name="T15" fmla="*/ 1270 h 1344"/>
                <a:gd name="T16" fmla="*/ 0 w 3151"/>
                <a:gd name="T17" fmla="*/ 1344 h 1344"/>
                <a:gd name="T18" fmla="*/ 0 w 3151"/>
                <a:gd name="T19" fmla="*/ 1307 h 1344"/>
                <a:gd name="T20" fmla="*/ 665 w 3151"/>
                <a:gd name="T21" fmla="*/ 1233 h 1344"/>
                <a:gd name="T22" fmla="*/ 702 w 3151"/>
                <a:gd name="T23" fmla="*/ 574 h 1344"/>
                <a:gd name="T24" fmla="*/ 1876 w 3151"/>
                <a:gd name="T25" fmla="*/ 1038 h 1344"/>
                <a:gd name="T26" fmla="*/ 2070 w 3151"/>
                <a:gd name="T27" fmla="*/ 704 h 1344"/>
                <a:gd name="T28" fmla="*/ 2458 w 3151"/>
                <a:gd name="T29" fmla="*/ 880 h 1344"/>
                <a:gd name="T30" fmla="*/ 2458 w 3151"/>
                <a:gd name="T31" fmla="*/ 491 h 1344"/>
                <a:gd name="T32" fmla="*/ 3105 w 3151"/>
                <a:gd name="T33" fmla="*/ 380 h 1344"/>
                <a:gd name="T34" fmla="*/ 3031 w 3151"/>
                <a:gd name="T35" fmla="*/ 9 h 1344"/>
                <a:gd name="T36" fmla="*/ 3077 w 3151"/>
                <a:gd name="T37" fmla="*/ 0 h 1344"/>
                <a:gd name="T38" fmla="*/ 3151 w 3151"/>
                <a:gd name="T39" fmla="*/ 408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1" h="1344">
                  <a:moveTo>
                    <a:pt x="3151" y="408"/>
                  </a:moveTo>
                  <a:lnTo>
                    <a:pt x="2495" y="519"/>
                  </a:lnTo>
                  <a:lnTo>
                    <a:pt x="2495" y="945"/>
                  </a:lnTo>
                  <a:lnTo>
                    <a:pt x="2088" y="751"/>
                  </a:lnTo>
                  <a:lnTo>
                    <a:pt x="1885" y="1094"/>
                  </a:lnTo>
                  <a:lnTo>
                    <a:pt x="1876" y="1084"/>
                  </a:lnTo>
                  <a:lnTo>
                    <a:pt x="739" y="630"/>
                  </a:lnTo>
                  <a:lnTo>
                    <a:pt x="711" y="1270"/>
                  </a:lnTo>
                  <a:lnTo>
                    <a:pt x="0" y="1344"/>
                  </a:lnTo>
                  <a:lnTo>
                    <a:pt x="0" y="1307"/>
                  </a:lnTo>
                  <a:lnTo>
                    <a:pt x="665" y="1233"/>
                  </a:lnTo>
                  <a:lnTo>
                    <a:pt x="702" y="574"/>
                  </a:lnTo>
                  <a:lnTo>
                    <a:pt x="1876" y="1038"/>
                  </a:lnTo>
                  <a:lnTo>
                    <a:pt x="2070" y="704"/>
                  </a:lnTo>
                  <a:lnTo>
                    <a:pt x="2458" y="880"/>
                  </a:lnTo>
                  <a:lnTo>
                    <a:pt x="2458" y="491"/>
                  </a:lnTo>
                  <a:lnTo>
                    <a:pt x="3105" y="380"/>
                  </a:lnTo>
                  <a:lnTo>
                    <a:pt x="3031" y="9"/>
                  </a:lnTo>
                  <a:lnTo>
                    <a:pt x="3077" y="0"/>
                  </a:lnTo>
                  <a:lnTo>
                    <a:pt x="3151" y="408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išḻiḑé"/>
            <p:cNvSpPr/>
            <p:nvPr/>
          </p:nvSpPr>
          <p:spPr bwMode="auto">
            <a:xfrm>
              <a:off x="5281613" y="2760663"/>
              <a:ext cx="277813" cy="263525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îśľiďé"/>
            <p:cNvSpPr/>
            <p:nvPr/>
          </p:nvSpPr>
          <p:spPr bwMode="auto">
            <a:xfrm>
              <a:off x="5192713" y="3805238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îṧļíďé"/>
            <p:cNvSpPr/>
            <p:nvPr/>
          </p:nvSpPr>
          <p:spPr bwMode="auto">
            <a:xfrm>
              <a:off x="7115175" y="3467101"/>
              <a:ext cx="263525" cy="263525"/>
            </a:xfrm>
            <a:custGeom>
              <a:avLst/>
              <a:gdLst>
                <a:gd name="T0" fmla="*/ 12 w 18"/>
                <a:gd name="T1" fmla="*/ 1 h 18"/>
                <a:gd name="T2" fmla="*/ 16 w 18"/>
                <a:gd name="T3" fmla="*/ 12 h 18"/>
                <a:gd name="T4" fmla="*/ 5 w 18"/>
                <a:gd name="T5" fmla="*/ 16 h 18"/>
                <a:gd name="T6" fmla="*/ 1 w 18"/>
                <a:gd name="T7" fmla="*/ 5 h 18"/>
                <a:gd name="T8" fmla="*/ 12 w 1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1"/>
                  </a:moveTo>
                  <a:cubicBezTo>
                    <a:pt x="16" y="3"/>
                    <a:pt x="18" y="8"/>
                    <a:pt x="16" y="12"/>
                  </a:cubicBezTo>
                  <a:cubicBezTo>
                    <a:pt x="14" y="16"/>
                    <a:pt x="10" y="18"/>
                    <a:pt x="5" y="16"/>
                  </a:cubicBezTo>
                  <a:cubicBezTo>
                    <a:pt x="1" y="14"/>
                    <a:pt x="0" y="10"/>
                    <a:pt x="1" y="5"/>
                  </a:cubicBezTo>
                  <a:cubicBezTo>
                    <a:pt x="3" y="1"/>
                    <a:pt x="8" y="0"/>
                    <a:pt x="12" y="1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íśḻîḑé"/>
            <p:cNvSpPr/>
            <p:nvPr/>
          </p:nvSpPr>
          <p:spPr bwMode="auto">
            <a:xfrm>
              <a:off x="7408863" y="2951163"/>
              <a:ext cx="277813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íṥ1îḓé"/>
            <p:cNvSpPr/>
            <p:nvPr/>
          </p:nvSpPr>
          <p:spPr bwMode="auto">
            <a:xfrm>
              <a:off x="8024813" y="2613026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íşlíďè"/>
            <p:cNvSpPr/>
            <p:nvPr/>
          </p:nvSpPr>
          <p:spPr bwMode="auto">
            <a:xfrm>
              <a:off x="8039100" y="3260726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8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iṣlide"/>
            <p:cNvSpPr/>
            <p:nvPr/>
          </p:nvSpPr>
          <p:spPr bwMode="auto">
            <a:xfrm>
              <a:off x="9066213" y="2436813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î$ḻiḋé"/>
            <p:cNvSpPr/>
            <p:nvPr/>
          </p:nvSpPr>
          <p:spPr bwMode="auto">
            <a:xfrm>
              <a:off x="8963025" y="1803401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íśḻídé"/>
            <p:cNvSpPr/>
            <p:nvPr/>
          </p:nvSpPr>
          <p:spPr bwMode="auto">
            <a:xfrm>
              <a:off x="4106863" y="3952876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iṡlíḓê"/>
            <p:cNvSpPr/>
            <p:nvPr/>
          </p:nvSpPr>
          <p:spPr bwMode="auto">
            <a:xfrm>
              <a:off x="5075238" y="5394326"/>
              <a:ext cx="190500" cy="236538"/>
            </a:xfrm>
            <a:custGeom>
              <a:avLst/>
              <a:gdLst>
                <a:gd name="T0" fmla="*/ 84 w 120"/>
                <a:gd name="T1" fmla="*/ 0 h 149"/>
                <a:gd name="T2" fmla="*/ 56 w 120"/>
                <a:gd name="T3" fmla="*/ 9 h 149"/>
                <a:gd name="T4" fmla="*/ 65 w 120"/>
                <a:gd name="T5" fmla="*/ 56 h 149"/>
                <a:gd name="T6" fmla="*/ 56 w 120"/>
                <a:gd name="T7" fmla="*/ 74 h 149"/>
                <a:gd name="T8" fmla="*/ 0 w 120"/>
                <a:gd name="T9" fmla="*/ 149 h 149"/>
                <a:gd name="T10" fmla="*/ 120 w 120"/>
                <a:gd name="T11" fmla="*/ 74 h 149"/>
                <a:gd name="T12" fmla="*/ 84 w 120"/>
                <a:gd name="T1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49">
                  <a:moveTo>
                    <a:pt x="84" y="0"/>
                  </a:moveTo>
                  <a:lnTo>
                    <a:pt x="56" y="9"/>
                  </a:lnTo>
                  <a:lnTo>
                    <a:pt x="65" y="56"/>
                  </a:lnTo>
                  <a:lnTo>
                    <a:pt x="56" y="74"/>
                  </a:lnTo>
                  <a:lnTo>
                    <a:pt x="0" y="149"/>
                  </a:lnTo>
                  <a:lnTo>
                    <a:pt x="120" y="7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îSļïḓê"/>
            <p:cNvSpPr/>
            <p:nvPr/>
          </p:nvSpPr>
          <p:spPr bwMode="auto">
            <a:xfrm>
              <a:off x="5208588" y="5335588"/>
              <a:ext cx="204788" cy="192088"/>
            </a:xfrm>
            <a:custGeom>
              <a:avLst/>
              <a:gdLst>
                <a:gd name="T0" fmla="*/ 18 w 129"/>
                <a:gd name="T1" fmla="*/ 0 h 121"/>
                <a:gd name="T2" fmla="*/ 46 w 129"/>
                <a:gd name="T3" fmla="*/ 0 h 121"/>
                <a:gd name="T4" fmla="*/ 46 w 129"/>
                <a:gd name="T5" fmla="*/ 46 h 121"/>
                <a:gd name="T6" fmla="*/ 55 w 129"/>
                <a:gd name="T7" fmla="*/ 56 h 121"/>
                <a:gd name="T8" fmla="*/ 129 w 129"/>
                <a:gd name="T9" fmla="*/ 121 h 121"/>
                <a:gd name="T10" fmla="*/ 0 w 129"/>
                <a:gd name="T11" fmla="*/ 74 h 121"/>
                <a:gd name="T12" fmla="*/ 18 w 129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21">
                  <a:moveTo>
                    <a:pt x="18" y="0"/>
                  </a:moveTo>
                  <a:lnTo>
                    <a:pt x="46" y="0"/>
                  </a:lnTo>
                  <a:lnTo>
                    <a:pt x="46" y="46"/>
                  </a:lnTo>
                  <a:lnTo>
                    <a:pt x="55" y="56"/>
                  </a:lnTo>
                  <a:lnTo>
                    <a:pt x="129" y="121"/>
                  </a:lnTo>
                  <a:lnTo>
                    <a:pt x="0" y="7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íśḷiḋe"/>
            <p:cNvSpPr/>
            <p:nvPr/>
          </p:nvSpPr>
          <p:spPr bwMode="auto">
            <a:xfrm>
              <a:off x="4899025" y="3613151"/>
              <a:ext cx="455613" cy="1855788"/>
            </a:xfrm>
            <a:custGeom>
              <a:avLst/>
              <a:gdLst>
                <a:gd name="T0" fmla="*/ 10 w 287"/>
                <a:gd name="T1" fmla="*/ 0 h 1169"/>
                <a:gd name="T2" fmla="*/ 0 w 287"/>
                <a:gd name="T3" fmla="*/ 612 h 1169"/>
                <a:gd name="T4" fmla="*/ 167 w 287"/>
                <a:gd name="T5" fmla="*/ 1169 h 1169"/>
                <a:gd name="T6" fmla="*/ 222 w 287"/>
                <a:gd name="T7" fmla="*/ 1150 h 1169"/>
                <a:gd name="T8" fmla="*/ 130 w 287"/>
                <a:gd name="T9" fmla="*/ 649 h 1169"/>
                <a:gd name="T10" fmla="*/ 287 w 287"/>
                <a:gd name="T11" fmla="*/ 130 h 1169"/>
                <a:gd name="T12" fmla="*/ 10 w 287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1169">
                  <a:moveTo>
                    <a:pt x="10" y="0"/>
                  </a:moveTo>
                  <a:lnTo>
                    <a:pt x="0" y="612"/>
                  </a:lnTo>
                  <a:lnTo>
                    <a:pt x="167" y="1169"/>
                  </a:lnTo>
                  <a:lnTo>
                    <a:pt x="222" y="1150"/>
                  </a:lnTo>
                  <a:lnTo>
                    <a:pt x="130" y="649"/>
                  </a:lnTo>
                  <a:lnTo>
                    <a:pt x="287" y="13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F0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í$lïdè"/>
            <p:cNvSpPr/>
            <p:nvPr/>
          </p:nvSpPr>
          <p:spPr bwMode="auto">
            <a:xfrm>
              <a:off x="5192713" y="3613151"/>
              <a:ext cx="469900" cy="1781175"/>
            </a:xfrm>
            <a:custGeom>
              <a:avLst/>
              <a:gdLst>
                <a:gd name="T0" fmla="*/ 65 w 296"/>
                <a:gd name="T1" fmla="*/ 112 h 1122"/>
                <a:gd name="T2" fmla="*/ 65 w 296"/>
                <a:gd name="T3" fmla="*/ 631 h 1122"/>
                <a:gd name="T4" fmla="*/ 0 w 296"/>
                <a:gd name="T5" fmla="*/ 1122 h 1122"/>
                <a:gd name="T6" fmla="*/ 65 w 296"/>
                <a:gd name="T7" fmla="*/ 1122 h 1122"/>
                <a:gd name="T8" fmla="*/ 185 w 296"/>
                <a:gd name="T9" fmla="*/ 622 h 1122"/>
                <a:gd name="T10" fmla="*/ 296 w 296"/>
                <a:gd name="T11" fmla="*/ 0 h 1122"/>
                <a:gd name="T12" fmla="*/ 65 w 296"/>
                <a:gd name="T13" fmla="*/ 11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1122">
                  <a:moveTo>
                    <a:pt x="65" y="112"/>
                  </a:moveTo>
                  <a:lnTo>
                    <a:pt x="65" y="631"/>
                  </a:lnTo>
                  <a:lnTo>
                    <a:pt x="0" y="1122"/>
                  </a:lnTo>
                  <a:lnTo>
                    <a:pt x="65" y="1122"/>
                  </a:lnTo>
                  <a:lnTo>
                    <a:pt x="185" y="622"/>
                  </a:lnTo>
                  <a:lnTo>
                    <a:pt x="296" y="0"/>
                  </a:lnTo>
                  <a:lnTo>
                    <a:pt x="65" y="112"/>
                  </a:lnTo>
                  <a:close/>
                </a:path>
              </a:pathLst>
            </a:custGeom>
            <a:solidFill>
              <a:srgbClr val="3512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ïSlíḋè"/>
            <p:cNvSpPr/>
            <p:nvPr/>
          </p:nvSpPr>
          <p:spPr bwMode="auto">
            <a:xfrm>
              <a:off x="6381750" y="3333751"/>
              <a:ext cx="190500" cy="133350"/>
            </a:xfrm>
            <a:custGeom>
              <a:avLst/>
              <a:gdLst>
                <a:gd name="T0" fmla="*/ 0 w 13"/>
                <a:gd name="T1" fmla="*/ 1 h 9"/>
                <a:gd name="T2" fmla="*/ 10 w 13"/>
                <a:gd name="T3" fmla="*/ 1 h 9"/>
                <a:gd name="T4" fmla="*/ 0 w 13"/>
                <a:gd name="T5" fmla="*/ 4 h 9"/>
                <a:gd name="T6" fmla="*/ 0 w 13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9" y="0"/>
                    <a:pt x="10" y="1"/>
                  </a:cubicBezTo>
                  <a:cubicBezTo>
                    <a:pt x="11" y="3"/>
                    <a:pt x="13" y="9"/>
                    <a:pt x="0" y="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8A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ïSḷîdé"/>
            <p:cNvSpPr/>
            <p:nvPr/>
          </p:nvSpPr>
          <p:spPr bwMode="auto">
            <a:xfrm>
              <a:off x="5545138" y="2509838"/>
              <a:ext cx="850900" cy="898525"/>
            </a:xfrm>
            <a:custGeom>
              <a:avLst/>
              <a:gdLst>
                <a:gd name="T0" fmla="*/ 1 w 58"/>
                <a:gd name="T1" fmla="*/ 18 h 61"/>
                <a:gd name="T2" fmla="*/ 5 w 58"/>
                <a:gd name="T3" fmla="*/ 57 h 61"/>
                <a:gd name="T4" fmla="*/ 58 w 58"/>
                <a:gd name="T5" fmla="*/ 61 h 61"/>
                <a:gd name="T6" fmla="*/ 58 w 58"/>
                <a:gd name="T7" fmla="*/ 57 h 61"/>
                <a:gd name="T8" fmla="*/ 18 w 58"/>
                <a:gd name="T9" fmla="*/ 47 h 61"/>
                <a:gd name="T10" fmla="*/ 12 w 58"/>
                <a:gd name="T11" fmla="*/ 12 h 61"/>
                <a:gd name="T12" fmla="*/ 3 w 58"/>
                <a:gd name="T13" fmla="*/ 2 h 61"/>
                <a:gd name="T14" fmla="*/ 1 w 58"/>
                <a:gd name="T15" fmla="*/ 1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1" y="18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1" y="0"/>
                    <a:pt x="3" y="2"/>
                  </a:cubicBezTo>
                  <a:cubicBezTo>
                    <a:pt x="3" y="2"/>
                    <a:pt x="0" y="10"/>
                    <a:pt x="1" y="18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íšḻíḑê"/>
            <p:cNvSpPr/>
            <p:nvPr/>
          </p:nvSpPr>
          <p:spPr bwMode="auto">
            <a:xfrm>
              <a:off x="4856163" y="2465388"/>
              <a:ext cx="909638" cy="1487488"/>
            </a:xfrm>
            <a:custGeom>
              <a:avLst/>
              <a:gdLst>
                <a:gd name="T0" fmla="*/ 22 w 62"/>
                <a:gd name="T1" fmla="*/ 5 h 101"/>
                <a:gd name="T2" fmla="*/ 1 w 62"/>
                <a:gd name="T3" fmla="*/ 22 h 101"/>
                <a:gd name="T4" fmla="*/ 5 w 62"/>
                <a:gd name="T5" fmla="*/ 57 h 101"/>
                <a:gd name="T6" fmla="*/ 4 w 62"/>
                <a:gd name="T7" fmla="*/ 85 h 101"/>
                <a:gd name="T8" fmla="*/ 54 w 62"/>
                <a:gd name="T9" fmla="*/ 83 h 101"/>
                <a:gd name="T10" fmla="*/ 54 w 62"/>
                <a:gd name="T11" fmla="*/ 37 h 101"/>
                <a:gd name="T12" fmla="*/ 53 w 62"/>
                <a:gd name="T13" fmla="*/ 5 h 101"/>
                <a:gd name="T14" fmla="*/ 22 w 62"/>
                <a:gd name="T15" fmla="*/ 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01">
                  <a:moveTo>
                    <a:pt x="22" y="5"/>
                  </a:moveTo>
                  <a:cubicBezTo>
                    <a:pt x="15" y="7"/>
                    <a:pt x="2" y="13"/>
                    <a:pt x="1" y="22"/>
                  </a:cubicBezTo>
                  <a:cubicBezTo>
                    <a:pt x="0" y="32"/>
                    <a:pt x="5" y="57"/>
                    <a:pt x="5" y="57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29" y="101"/>
                    <a:pt x="54" y="83"/>
                  </a:cubicBezTo>
                  <a:cubicBezTo>
                    <a:pt x="54" y="83"/>
                    <a:pt x="53" y="50"/>
                    <a:pt x="54" y="37"/>
                  </a:cubicBezTo>
                  <a:cubicBezTo>
                    <a:pt x="54" y="30"/>
                    <a:pt x="62" y="8"/>
                    <a:pt x="53" y="5"/>
                  </a:cubicBezTo>
                  <a:cubicBezTo>
                    <a:pt x="38" y="0"/>
                    <a:pt x="28" y="3"/>
                    <a:pt x="22" y="5"/>
                  </a:cubicBezTo>
                  <a:close/>
                </a:path>
              </a:pathLst>
            </a:custGeom>
            <a:solidFill>
              <a:srgbClr val="FF2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íṧľïḓê"/>
            <p:cNvSpPr/>
            <p:nvPr/>
          </p:nvSpPr>
          <p:spPr bwMode="auto">
            <a:xfrm>
              <a:off x="5222875" y="2376488"/>
              <a:ext cx="204788" cy="280988"/>
            </a:xfrm>
            <a:custGeom>
              <a:avLst/>
              <a:gdLst>
                <a:gd name="T0" fmla="*/ 2 w 14"/>
                <a:gd name="T1" fmla="*/ 1 h 19"/>
                <a:gd name="T2" fmla="*/ 0 w 14"/>
                <a:gd name="T3" fmla="*/ 11 h 19"/>
                <a:gd name="T4" fmla="*/ 12 w 14"/>
                <a:gd name="T5" fmla="*/ 14 h 19"/>
                <a:gd name="T6" fmla="*/ 9 w 14"/>
                <a:gd name="T7" fmla="*/ 0 h 19"/>
                <a:gd name="T8" fmla="*/ 2 w 14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2" y="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4" y="19"/>
                    <a:pt x="12" y="14"/>
                  </a:cubicBezTo>
                  <a:cubicBezTo>
                    <a:pt x="10" y="9"/>
                    <a:pt x="9" y="0"/>
                    <a:pt x="9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ï$1îďê"/>
            <p:cNvSpPr/>
            <p:nvPr/>
          </p:nvSpPr>
          <p:spPr bwMode="auto">
            <a:xfrm>
              <a:off x="5208588" y="2155826"/>
              <a:ext cx="204788" cy="323850"/>
            </a:xfrm>
            <a:custGeom>
              <a:avLst/>
              <a:gdLst>
                <a:gd name="T0" fmla="*/ 1 w 14"/>
                <a:gd name="T1" fmla="*/ 4 h 22"/>
                <a:gd name="T2" fmla="*/ 1 w 14"/>
                <a:gd name="T3" fmla="*/ 13 h 22"/>
                <a:gd name="T4" fmla="*/ 8 w 14"/>
                <a:gd name="T5" fmla="*/ 21 h 22"/>
                <a:gd name="T6" fmla="*/ 13 w 14"/>
                <a:gd name="T7" fmla="*/ 18 h 22"/>
                <a:gd name="T8" fmla="*/ 8 w 14"/>
                <a:gd name="T9" fmla="*/ 2 h 22"/>
                <a:gd name="T10" fmla="*/ 1 w 14"/>
                <a:gd name="T1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1" y="4"/>
                  </a:moveTo>
                  <a:cubicBezTo>
                    <a:pt x="1" y="6"/>
                    <a:pt x="0" y="10"/>
                    <a:pt x="1" y="13"/>
                  </a:cubicBezTo>
                  <a:cubicBezTo>
                    <a:pt x="3" y="15"/>
                    <a:pt x="5" y="20"/>
                    <a:pt x="8" y="21"/>
                  </a:cubicBezTo>
                  <a:cubicBezTo>
                    <a:pt x="12" y="22"/>
                    <a:pt x="13" y="19"/>
                    <a:pt x="13" y="18"/>
                  </a:cubicBezTo>
                  <a:cubicBezTo>
                    <a:pt x="14" y="15"/>
                    <a:pt x="13" y="4"/>
                    <a:pt x="8" y="2"/>
                  </a:cubicBezTo>
                  <a:cubicBezTo>
                    <a:pt x="4" y="0"/>
                    <a:pt x="2" y="2"/>
                    <a:pt x="1" y="4"/>
                  </a:cubicBez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í$lïḍé"/>
            <p:cNvSpPr/>
            <p:nvPr/>
          </p:nvSpPr>
          <p:spPr bwMode="auto">
            <a:xfrm>
              <a:off x="5178425" y="2127251"/>
              <a:ext cx="176213" cy="249238"/>
            </a:xfrm>
            <a:custGeom>
              <a:avLst/>
              <a:gdLst>
                <a:gd name="T0" fmla="*/ 12 w 12"/>
                <a:gd name="T1" fmla="*/ 5 h 17"/>
                <a:gd name="T2" fmla="*/ 7 w 12"/>
                <a:gd name="T3" fmla="*/ 7 h 17"/>
                <a:gd name="T4" fmla="*/ 4 w 12"/>
                <a:gd name="T5" fmla="*/ 11 h 17"/>
                <a:gd name="T6" fmla="*/ 4 w 12"/>
                <a:gd name="T7" fmla="*/ 16 h 17"/>
                <a:gd name="T8" fmla="*/ 2 w 12"/>
                <a:gd name="T9" fmla="*/ 6 h 17"/>
                <a:gd name="T10" fmla="*/ 12 w 12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12" y="5"/>
                  </a:moveTo>
                  <a:cubicBezTo>
                    <a:pt x="12" y="5"/>
                    <a:pt x="10" y="8"/>
                    <a:pt x="7" y="7"/>
                  </a:cubicBezTo>
                  <a:cubicBezTo>
                    <a:pt x="3" y="7"/>
                    <a:pt x="4" y="10"/>
                    <a:pt x="4" y="11"/>
                  </a:cubicBezTo>
                  <a:cubicBezTo>
                    <a:pt x="4" y="11"/>
                    <a:pt x="5" y="16"/>
                    <a:pt x="4" y="16"/>
                  </a:cubicBezTo>
                  <a:cubicBezTo>
                    <a:pt x="3" y="17"/>
                    <a:pt x="0" y="11"/>
                    <a:pt x="2" y="6"/>
                  </a:cubicBezTo>
                  <a:cubicBezTo>
                    <a:pt x="3" y="2"/>
                    <a:pt x="10" y="0"/>
                    <a:pt x="12" y="5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î$ḻidé"/>
            <p:cNvSpPr/>
            <p:nvPr/>
          </p:nvSpPr>
          <p:spPr bwMode="auto">
            <a:xfrm>
              <a:off x="5251450" y="2333626"/>
              <a:ext cx="176213" cy="146050"/>
            </a:xfrm>
            <a:custGeom>
              <a:avLst/>
              <a:gdLst>
                <a:gd name="T0" fmla="*/ 0 w 12"/>
                <a:gd name="T1" fmla="*/ 4 h 10"/>
                <a:gd name="T2" fmla="*/ 8 w 12"/>
                <a:gd name="T3" fmla="*/ 6 h 10"/>
                <a:gd name="T4" fmla="*/ 11 w 12"/>
                <a:gd name="T5" fmla="*/ 1 h 10"/>
                <a:gd name="T6" fmla="*/ 7 w 12"/>
                <a:gd name="T7" fmla="*/ 9 h 10"/>
                <a:gd name="T8" fmla="*/ 0 w 12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4"/>
                  </a:moveTo>
                  <a:cubicBezTo>
                    <a:pt x="0" y="4"/>
                    <a:pt x="4" y="7"/>
                    <a:pt x="8" y="6"/>
                  </a:cubicBezTo>
                  <a:cubicBezTo>
                    <a:pt x="10" y="6"/>
                    <a:pt x="11" y="2"/>
                    <a:pt x="11" y="1"/>
                  </a:cubicBezTo>
                  <a:cubicBezTo>
                    <a:pt x="10" y="0"/>
                    <a:pt x="12" y="8"/>
                    <a:pt x="7" y="9"/>
                  </a:cubicBezTo>
                  <a:cubicBezTo>
                    <a:pt x="2" y="1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iš1iḓè"/>
            <p:cNvSpPr/>
            <p:nvPr/>
          </p:nvSpPr>
          <p:spPr bwMode="auto">
            <a:xfrm>
              <a:off x="5164138" y="2936876"/>
              <a:ext cx="1819275" cy="1030288"/>
            </a:xfrm>
            <a:custGeom>
              <a:avLst/>
              <a:gdLst>
                <a:gd name="T0" fmla="*/ 1146 w 1146"/>
                <a:gd name="T1" fmla="*/ 139 h 649"/>
                <a:gd name="T2" fmla="*/ 64 w 1146"/>
                <a:gd name="T3" fmla="*/ 649 h 649"/>
                <a:gd name="T4" fmla="*/ 0 w 1146"/>
                <a:gd name="T5" fmla="*/ 500 h 649"/>
                <a:gd name="T6" fmla="*/ 1081 w 1146"/>
                <a:gd name="T7" fmla="*/ 0 h 649"/>
                <a:gd name="T8" fmla="*/ 1146 w 1146"/>
                <a:gd name="T9" fmla="*/ 13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649">
                  <a:moveTo>
                    <a:pt x="1146" y="139"/>
                  </a:moveTo>
                  <a:lnTo>
                    <a:pt x="64" y="649"/>
                  </a:lnTo>
                  <a:lnTo>
                    <a:pt x="0" y="500"/>
                  </a:lnTo>
                  <a:lnTo>
                    <a:pt x="1081" y="0"/>
                  </a:lnTo>
                  <a:lnTo>
                    <a:pt x="1146" y="139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ísḷíḑè"/>
            <p:cNvSpPr/>
            <p:nvPr/>
          </p:nvSpPr>
          <p:spPr bwMode="auto">
            <a:xfrm>
              <a:off x="5559425" y="3613151"/>
              <a:ext cx="176213" cy="147638"/>
            </a:xfrm>
            <a:custGeom>
              <a:avLst/>
              <a:gdLst>
                <a:gd name="T0" fmla="*/ 1 w 12"/>
                <a:gd name="T1" fmla="*/ 0 h 10"/>
                <a:gd name="T2" fmla="*/ 11 w 12"/>
                <a:gd name="T3" fmla="*/ 2 h 10"/>
                <a:gd name="T4" fmla="*/ 0 w 12"/>
                <a:gd name="T5" fmla="*/ 3 h 10"/>
                <a:gd name="T6" fmla="*/ 1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" y="0"/>
                  </a:moveTo>
                  <a:cubicBezTo>
                    <a:pt x="1" y="0"/>
                    <a:pt x="10" y="0"/>
                    <a:pt x="11" y="2"/>
                  </a:cubicBezTo>
                  <a:cubicBezTo>
                    <a:pt x="12" y="3"/>
                    <a:pt x="12" y="10"/>
                    <a:pt x="0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išlíḓê"/>
            <p:cNvSpPr/>
            <p:nvPr/>
          </p:nvSpPr>
          <p:spPr bwMode="auto">
            <a:xfrm>
              <a:off x="4811713" y="2627313"/>
              <a:ext cx="777875" cy="1044575"/>
            </a:xfrm>
            <a:custGeom>
              <a:avLst/>
              <a:gdLst>
                <a:gd name="T0" fmla="*/ 2 w 53"/>
                <a:gd name="T1" fmla="*/ 19 h 71"/>
                <a:gd name="T2" fmla="*/ 0 w 53"/>
                <a:gd name="T3" fmla="*/ 58 h 71"/>
                <a:gd name="T4" fmla="*/ 52 w 53"/>
                <a:gd name="T5" fmla="*/ 71 h 71"/>
                <a:gd name="T6" fmla="*/ 53 w 53"/>
                <a:gd name="T7" fmla="*/ 67 h 71"/>
                <a:gd name="T8" fmla="*/ 15 w 53"/>
                <a:gd name="T9" fmla="*/ 51 h 71"/>
                <a:gd name="T10" fmla="*/ 15 w 53"/>
                <a:gd name="T11" fmla="*/ 15 h 71"/>
                <a:gd name="T12" fmla="*/ 8 w 53"/>
                <a:gd name="T13" fmla="*/ 4 h 71"/>
                <a:gd name="T14" fmla="*/ 2 w 53"/>
                <a:gd name="T15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71">
                  <a:moveTo>
                    <a:pt x="2" y="19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0"/>
                    <a:pt x="8" y="4"/>
                  </a:cubicBezTo>
                  <a:cubicBezTo>
                    <a:pt x="4" y="5"/>
                    <a:pt x="3" y="11"/>
                    <a:pt x="2" y="19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ís1ïdê"/>
            <p:cNvSpPr/>
            <p:nvPr/>
          </p:nvSpPr>
          <p:spPr bwMode="auto">
            <a:xfrm>
              <a:off x="6880225" y="2936876"/>
              <a:ext cx="307975" cy="220663"/>
            </a:xfrm>
            <a:custGeom>
              <a:avLst/>
              <a:gdLst>
                <a:gd name="T0" fmla="*/ 0 w 194"/>
                <a:gd name="T1" fmla="*/ 0 h 139"/>
                <a:gd name="T2" fmla="*/ 194 w 194"/>
                <a:gd name="T3" fmla="*/ 0 h 139"/>
                <a:gd name="T4" fmla="*/ 65 w 194"/>
                <a:gd name="T5" fmla="*/ 139 h 139"/>
                <a:gd name="T6" fmla="*/ 0 w 194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139">
                  <a:moveTo>
                    <a:pt x="0" y="0"/>
                  </a:moveTo>
                  <a:lnTo>
                    <a:pt x="194" y="0"/>
                  </a:lnTo>
                  <a:lnTo>
                    <a:pt x="65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custDataLst>
      <p:tags r:id="rId3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菱形 4"/>
          <p:cNvSpPr/>
          <p:nvPr/>
        </p:nvSpPr>
        <p:spPr>
          <a:xfrm>
            <a:off x="3238959" y="440675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1</a:t>
            </a:r>
          </a:p>
        </p:txBody>
      </p:sp>
      <p:sp>
        <p:nvSpPr>
          <p:cNvPr id="26" name="菱形 25"/>
          <p:cNvSpPr/>
          <p:nvPr/>
        </p:nvSpPr>
        <p:spPr>
          <a:xfrm>
            <a:off x="4447374" y="3567630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3</a:t>
            </a:r>
          </a:p>
        </p:txBody>
      </p:sp>
      <p:sp>
        <p:nvSpPr>
          <p:cNvPr id="27" name="菱形 26"/>
          <p:cNvSpPr/>
          <p:nvPr/>
        </p:nvSpPr>
        <p:spPr>
          <a:xfrm>
            <a:off x="4447374" y="1680072"/>
            <a:ext cx="1597445" cy="1597445"/>
          </a:xfrm>
          <a:prstGeom prst="diamond">
            <a:avLst/>
          </a:prstGeom>
          <a:gradFill>
            <a:gsLst>
              <a:gs pos="0">
                <a:srgbClr val="4EBCF7"/>
              </a:gs>
              <a:gs pos="100000">
                <a:srgbClr val="0870D3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2</a:t>
            </a:r>
          </a:p>
        </p:txBody>
      </p:sp>
      <p:sp>
        <p:nvSpPr>
          <p:cNvPr id="28" name="菱形 27"/>
          <p:cNvSpPr/>
          <p:nvPr/>
        </p:nvSpPr>
        <p:spPr>
          <a:xfrm>
            <a:off x="3238959" y="4773976"/>
            <a:ext cx="1597445" cy="1597445"/>
          </a:xfrm>
          <a:prstGeom prst="diamond">
            <a:avLst/>
          </a:prstGeom>
          <a:gradFill>
            <a:gsLst>
              <a:gs pos="0">
                <a:srgbClr val="4EBCF7"/>
              </a:gs>
              <a:gs pos="100000">
                <a:srgbClr val="0870D3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4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957705" y="2978339"/>
            <a:ext cx="23787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CONTENT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1029304" y="3556757"/>
            <a:ext cx="25549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2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WELCOME TO OUR CREATIVE</a:t>
            </a:r>
          </a:p>
        </p:txBody>
      </p:sp>
      <p:grpSp>
        <p:nvGrpSpPr>
          <p:cNvPr id="33" name="组合 32"/>
          <p:cNvGrpSpPr/>
          <p:nvPr/>
        </p:nvGrpSpPr>
        <p:grpSpPr>
          <a:xfrm>
            <a:off x="5347764" y="904013"/>
            <a:ext cx="2512102" cy="643745"/>
            <a:chOff x="5401269" y="392092"/>
            <a:chExt cx="2512102" cy="643745"/>
          </a:xfrm>
        </p:grpSpPr>
        <p:sp>
          <p:nvSpPr>
            <p:cNvPr id="31" name="TextBox 7"/>
            <p:cNvSpPr txBox="1"/>
            <p:nvPr/>
          </p:nvSpPr>
          <p:spPr bwMode="auto">
            <a:xfrm>
              <a:off x="5401269" y="392092"/>
              <a:ext cx="184731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32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6323059" y="2038120"/>
            <a:ext cx="2565126" cy="643745"/>
            <a:chOff x="5401269" y="392092"/>
            <a:chExt cx="2565126" cy="643745"/>
          </a:xfrm>
        </p:grpSpPr>
        <p:sp>
          <p:nvSpPr>
            <p:cNvPr id="35" name="TextBox 7"/>
            <p:cNvSpPr txBox="1"/>
            <p:nvPr/>
          </p:nvSpPr>
          <p:spPr bwMode="auto">
            <a:xfrm>
              <a:off x="5401269" y="392092"/>
              <a:ext cx="256512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</a:p>
          </p:txBody>
        </p:sp>
        <p:sp>
          <p:nvSpPr>
            <p:cNvPr id="36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323059" y="3952731"/>
            <a:ext cx="2565126" cy="643745"/>
            <a:chOff x="5401269" y="392092"/>
            <a:chExt cx="2565126" cy="643745"/>
          </a:xfrm>
        </p:grpSpPr>
        <p:sp>
          <p:nvSpPr>
            <p:cNvPr id="38" name="TextBox 7"/>
            <p:cNvSpPr txBox="1"/>
            <p:nvPr/>
          </p:nvSpPr>
          <p:spPr bwMode="auto">
            <a:xfrm>
              <a:off x="5401269" y="392092"/>
              <a:ext cx="256512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</a:p>
          </p:txBody>
        </p:sp>
        <p:sp>
          <p:nvSpPr>
            <p:cNvPr id="39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5347764" y="5329062"/>
            <a:ext cx="2565126" cy="643745"/>
            <a:chOff x="5401269" y="392092"/>
            <a:chExt cx="2565126" cy="643745"/>
          </a:xfrm>
        </p:grpSpPr>
        <p:sp>
          <p:nvSpPr>
            <p:cNvPr id="41" name="TextBox 7"/>
            <p:cNvSpPr txBox="1"/>
            <p:nvPr/>
          </p:nvSpPr>
          <p:spPr bwMode="auto">
            <a:xfrm>
              <a:off x="5401269" y="392092"/>
              <a:ext cx="256512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</a:p>
          </p:txBody>
        </p:sp>
        <p:sp>
          <p:nvSpPr>
            <p:cNvPr id="42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2" r="66319" b="42695"/>
          <a:stretch>
            <a:fillRect/>
          </a:stretch>
        </p:blipFill>
        <p:spPr>
          <a:xfrm rot="10800000">
            <a:off x="9345766" y="2928000"/>
            <a:ext cx="2846234" cy="393000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24" t="-1" r="66319" b="37016"/>
          <a:stretch>
            <a:fillRect/>
          </a:stretch>
        </p:blipFill>
        <p:spPr>
          <a:xfrm>
            <a:off x="0" y="0"/>
            <a:ext cx="2909133" cy="43194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grpSp>
        <p:nvGrpSpPr>
          <p:cNvPr id="4" name="组合 3"/>
          <p:cNvGrpSpPr/>
          <p:nvPr/>
        </p:nvGrpSpPr>
        <p:grpSpPr>
          <a:xfrm>
            <a:off x="3089200" y="2403618"/>
            <a:ext cx="4988000" cy="2050764"/>
            <a:chOff x="2723241" y="2832201"/>
            <a:chExt cx="3991407" cy="2050764"/>
          </a:xfrm>
        </p:grpSpPr>
        <p:sp>
          <p:nvSpPr>
            <p:cNvPr id="6" name="文本框 5"/>
            <p:cNvSpPr txBox="1"/>
            <p:nvPr/>
          </p:nvSpPr>
          <p:spPr>
            <a:xfrm>
              <a:off x="2723241" y="2832201"/>
              <a:ext cx="1953848" cy="1001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4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工作概述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723241" y="3833310"/>
              <a:ext cx="3991407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8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  <p:sp>
        <p:nvSpPr>
          <p:cNvPr id="10" name="菱形 9"/>
          <p:cNvSpPr/>
          <p:nvPr/>
        </p:nvSpPr>
        <p:spPr>
          <a:xfrm>
            <a:off x="1143459" y="2351035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1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4" name="íṡliḑe"/>
          <p:cNvSpPr/>
          <p:nvPr/>
        </p:nvSpPr>
        <p:spPr bwMode="auto">
          <a:xfrm flipV="1">
            <a:off x="0" y="0"/>
            <a:ext cx="12192000" cy="2885236"/>
          </a:xfrm>
          <a:custGeom>
            <a:avLst/>
            <a:gdLst>
              <a:gd name="T0" fmla="*/ 0 w 2926"/>
              <a:gd name="T1" fmla="*/ 1652 h 1652"/>
              <a:gd name="T2" fmla="*/ 2926 w 2926"/>
              <a:gd name="T3" fmla="*/ 1652 h 1652"/>
              <a:gd name="T4" fmla="*/ 2926 w 2926"/>
              <a:gd name="T5" fmla="*/ 1176 h 1652"/>
              <a:gd name="T6" fmla="*/ 2882 w 2926"/>
              <a:gd name="T7" fmla="*/ 1157 h 1652"/>
              <a:gd name="T8" fmla="*/ 2513 w 2926"/>
              <a:gd name="T9" fmla="*/ 901 h 1652"/>
              <a:gd name="T10" fmla="*/ 2268 w 2926"/>
              <a:gd name="T11" fmla="*/ 768 h 1652"/>
              <a:gd name="T12" fmla="*/ 1850 w 2926"/>
              <a:gd name="T13" fmla="*/ 878 h 1652"/>
              <a:gd name="T14" fmla="*/ 1489 w 2926"/>
              <a:gd name="T15" fmla="*/ 1138 h 1652"/>
              <a:gd name="T16" fmla="*/ 1064 w 2926"/>
              <a:gd name="T17" fmla="*/ 1187 h 1652"/>
              <a:gd name="T18" fmla="*/ 831 w 2926"/>
              <a:gd name="T19" fmla="*/ 872 h 1652"/>
              <a:gd name="T20" fmla="*/ 759 w 2926"/>
              <a:gd name="T21" fmla="*/ 474 h 1652"/>
              <a:gd name="T22" fmla="*/ 580 w 2926"/>
              <a:gd name="T23" fmla="*/ 94 h 1652"/>
              <a:gd name="T24" fmla="*/ 482 w 2926"/>
              <a:gd name="T25" fmla="*/ 0 h 1652"/>
              <a:gd name="T26" fmla="*/ 0 w 2926"/>
              <a:gd name="T27" fmla="*/ 0 h 1652"/>
              <a:gd name="T28" fmla="*/ 0 w 2926"/>
              <a:gd name="T29" fmla="*/ 1652 h 1652"/>
              <a:gd name="connsiteX0" fmla="*/ 11 w 10011"/>
              <a:gd name="connsiteY0" fmla="*/ 10000 h 10000"/>
              <a:gd name="connsiteX1" fmla="*/ 10011 w 10011"/>
              <a:gd name="connsiteY1" fmla="*/ 10000 h 10000"/>
              <a:gd name="connsiteX2" fmla="*/ 10011 w 10011"/>
              <a:gd name="connsiteY2" fmla="*/ 7119 h 10000"/>
              <a:gd name="connsiteX3" fmla="*/ 9861 w 10011"/>
              <a:gd name="connsiteY3" fmla="*/ 7004 h 10000"/>
              <a:gd name="connsiteX4" fmla="*/ 8600 w 10011"/>
              <a:gd name="connsiteY4" fmla="*/ 5454 h 10000"/>
              <a:gd name="connsiteX5" fmla="*/ 7762 w 10011"/>
              <a:gd name="connsiteY5" fmla="*/ 4649 h 10000"/>
              <a:gd name="connsiteX6" fmla="*/ 6334 w 10011"/>
              <a:gd name="connsiteY6" fmla="*/ 5315 h 10000"/>
              <a:gd name="connsiteX7" fmla="*/ 5100 w 10011"/>
              <a:gd name="connsiteY7" fmla="*/ 6889 h 10000"/>
              <a:gd name="connsiteX8" fmla="*/ 3647 w 10011"/>
              <a:gd name="connsiteY8" fmla="*/ 7185 h 10000"/>
              <a:gd name="connsiteX9" fmla="*/ 2851 w 10011"/>
              <a:gd name="connsiteY9" fmla="*/ 5278 h 10000"/>
              <a:gd name="connsiteX10" fmla="*/ 2605 w 10011"/>
              <a:gd name="connsiteY10" fmla="*/ 2869 h 10000"/>
              <a:gd name="connsiteX11" fmla="*/ 1993 w 10011"/>
              <a:gd name="connsiteY11" fmla="*/ 569 h 10000"/>
              <a:gd name="connsiteX12" fmla="*/ 1658 w 10011"/>
              <a:gd name="connsiteY12" fmla="*/ 0 h 10000"/>
              <a:gd name="connsiteX13" fmla="*/ 0 w 10011"/>
              <a:gd name="connsiteY13" fmla="*/ 5519 h 10000"/>
              <a:gd name="connsiteX14" fmla="*/ 11 w 10011"/>
              <a:gd name="connsiteY14" fmla="*/ 10000 h 10000"/>
              <a:gd name="connsiteX0-1" fmla="*/ 11 w 10011"/>
              <a:gd name="connsiteY0-2" fmla="*/ 9431 h 9431"/>
              <a:gd name="connsiteX1-3" fmla="*/ 10011 w 10011"/>
              <a:gd name="connsiteY1-4" fmla="*/ 9431 h 9431"/>
              <a:gd name="connsiteX2-5" fmla="*/ 10011 w 10011"/>
              <a:gd name="connsiteY2-6" fmla="*/ 6550 h 9431"/>
              <a:gd name="connsiteX3-7" fmla="*/ 9861 w 10011"/>
              <a:gd name="connsiteY3-8" fmla="*/ 6435 h 9431"/>
              <a:gd name="connsiteX4-9" fmla="*/ 8600 w 10011"/>
              <a:gd name="connsiteY4-10" fmla="*/ 4885 h 9431"/>
              <a:gd name="connsiteX5-11" fmla="*/ 7762 w 10011"/>
              <a:gd name="connsiteY5-12" fmla="*/ 4080 h 9431"/>
              <a:gd name="connsiteX6-13" fmla="*/ 6334 w 10011"/>
              <a:gd name="connsiteY6-14" fmla="*/ 4746 h 9431"/>
              <a:gd name="connsiteX7-15" fmla="*/ 5100 w 10011"/>
              <a:gd name="connsiteY7-16" fmla="*/ 6320 h 9431"/>
              <a:gd name="connsiteX8-17" fmla="*/ 3647 w 10011"/>
              <a:gd name="connsiteY8-18" fmla="*/ 6616 h 9431"/>
              <a:gd name="connsiteX9-19" fmla="*/ 2851 w 10011"/>
              <a:gd name="connsiteY9-20" fmla="*/ 4709 h 9431"/>
              <a:gd name="connsiteX10-21" fmla="*/ 2605 w 10011"/>
              <a:gd name="connsiteY10-22" fmla="*/ 2300 h 9431"/>
              <a:gd name="connsiteX11-23" fmla="*/ 1993 w 10011"/>
              <a:gd name="connsiteY11-24" fmla="*/ 0 h 9431"/>
              <a:gd name="connsiteX12-25" fmla="*/ 0 w 10011"/>
              <a:gd name="connsiteY12-26" fmla="*/ 4950 h 9431"/>
              <a:gd name="connsiteX13-27" fmla="*/ 11 w 10011"/>
              <a:gd name="connsiteY13-28" fmla="*/ 9431 h 9431"/>
              <a:gd name="connsiteX0-29" fmla="*/ 11 w 10000"/>
              <a:gd name="connsiteY0-30" fmla="*/ 7561 h 7561"/>
              <a:gd name="connsiteX1-31" fmla="*/ 10000 w 10000"/>
              <a:gd name="connsiteY1-32" fmla="*/ 7561 h 7561"/>
              <a:gd name="connsiteX2-33" fmla="*/ 10000 w 10000"/>
              <a:gd name="connsiteY2-34" fmla="*/ 4506 h 7561"/>
              <a:gd name="connsiteX3-35" fmla="*/ 9850 w 10000"/>
              <a:gd name="connsiteY3-36" fmla="*/ 4384 h 7561"/>
              <a:gd name="connsiteX4-37" fmla="*/ 8591 w 10000"/>
              <a:gd name="connsiteY4-38" fmla="*/ 2741 h 7561"/>
              <a:gd name="connsiteX5-39" fmla="*/ 7753 w 10000"/>
              <a:gd name="connsiteY5-40" fmla="*/ 1887 h 7561"/>
              <a:gd name="connsiteX6-41" fmla="*/ 6327 w 10000"/>
              <a:gd name="connsiteY6-42" fmla="*/ 2593 h 7561"/>
              <a:gd name="connsiteX7-43" fmla="*/ 5094 w 10000"/>
              <a:gd name="connsiteY7-44" fmla="*/ 4262 h 7561"/>
              <a:gd name="connsiteX8-45" fmla="*/ 3643 w 10000"/>
              <a:gd name="connsiteY8-46" fmla="*/ 4576 h 7561"/>
              <a:gd name="connsiteX9-47" fmla="*/ 2848 w 10000"/>
              <a:gd name="connsiteY9-48" fmla="*/ 2554 h 7561"/>
              <a:gd name="connsiteX10-49" fmla="*/ 2602 w 10000"/>
              <a:gd name="connsiteY10-50" fmla="*/ 0 h 7561"/>
              <a:gd name="connsiteX11-51" fmla="*/ 0 w 10000"/>
              <a:gd name="connsiteY11-52" fmla="*/ 2810 h 7561"/>
              <a:gd name="connsiteX12-53" fmla="*/ 11 w 10000"/>
              <a:gd name="connsiteY12-54" fmla="*/ 7561 h 7561"/>
              <a:gd name="connsiteX0-55" fmla="*/ 11 w 10000"/>
              <a:gd name="connsiteY0-56" fmla="*/ 10000 h 10000"/>
              <a:gd name="connsiteX1-57" fmla="*/ 10000 w 10000"/>
              <a:gd name="connsiteY1-58" fmla="*/ 10000 h 10000"/>
              <a:gd name="connsiteX2-59" fmla="*/ 10000 w 10000"/>
              <a:gd name="connsiteY2-60" fmla="*/ 5960 h 10000"/>
              <a:gd name="connsiteX3-61" fmla="*/ 9850 w 10000"/>
              <a:gd name="connsiteY3-62" fmla="*/ 5798 h 10000"/>
              <a:gd name="connsiteX4-63" fmla="*/ 8591 w 10000"/>
              <a:gd name="connsiteY4-64" fmla="*/ 3625 h 10000"/>
              <a:gd name="connsiteX5-65" fmla="*/ 7753 w 10000"/>
              <a:gd name="connsiteY5-66" fmla="*/ 2496 h 10000"/>
              <a:gd name="connsiteX6-67" fmla="*/ 6327 w 10000"/>
              <a:gd name="connsiteY6-68" fmla="*/ 3429 h 10000"/>
              <a:gd name="connsiteX7-69" fmla="*/ 5094 w 10000"/>
              <a:gd name="connsiteY7-70" fmla="*/ 5637 h 10000"/>
              <a:gd name="connsiteX8-71" fmla="*/ 3643 w 10000"/>
              <a:gd name="connsiteY8-72" fmla="*/ 6052 h 10000"/>
              <a:gd name="connsiteX9-73" fmla="*/ 2848 w 10000"/>
              <a:gd name="connsiteY9-74" fmla="*/ 3378 h 10000"/>
              <a:gd name="connsiteX10-75" fmla="*/ 2602 w 10000"/>
              <a:gd name="connsiteY10-76" fmla="*/ 0 h 10000"/>
              <a:gd name="connsiteX11-77" fmla="*/ 0 w 10000"/>
              <a:gd name="connsiteY11-78" fmla="*/ 3716 h 10000"/>
              <a:gd name="connsiteX12-79" fmla="*/ 11 w 10000"/>
              <a:gd name="connsiteY12-80" fmla="*/ 10000 h 10000"/>
              <a:gd name="connsiteX0-81" fmla="*/ 11 w 10000"/>
              <a:gd name="connsiteY0-82" fmla="*/ 10023 h 10023"/>
              <a:gd name="connsiteX1-83" fmla="*/ 10000 w 10000"/>
              <a:gd name="connsiteY1-84" fmla="*/ 10023 h 10023"/>
              <a:gd name="connsiteX2-85" fmla="*/ 10000 w 10000"/>
              <a:gd name="connsiteY2-86" fmla="*/ 5983 h 10023"/>
              <a:gd name="connsiteX3-87" fmla="*/ 9850 w 10000"/>
              <a:gd name="connsiteY3-88" fmla="*/ 5821 h 10023"/>
              <a:gd name="connsiteX4-89" fmla="*/ 8591 w 10000"/>
              <a:gd name="connsiteY4-90" fmla="*/ 3648 h 10023"/>
              <a:gd name="connsiteX5-91" fmla="*/ 7753 w 10000"/>
              <a:gd name="connsiteY5-92" fmla="*/ 2519 h 10023"/>
              <a:gd name="connsiteX6-93" fmla="*/ 6327 w 10000"/>
              <a:gd name="connsiteY6-94" fmla="*/ 3452 h 10023"/>
              <a:gd name="connsiteX7-95" fmla="*/ 5094 w 10000"/>
              <a:gd name="connsiteY7-96" fmla="*/ 5660 h 10023"/>
              <a:gd name="connsiteX8-97" fmla="*/ 3643 w 10000"/>
              <a:gd name="connsiteY8-98" fmla="*/ 6075 h 10023"/>
              <a:gd name="connsiteX9-99" fmla="*/ 2848 w 10000"/>
              <a:gd name="connsiteY9-100" fmla="*/ 3401 h 10023"/>
              <a:gd name="connsiteX10-101" fmla="*/ 2602 w 10000"/>
              <a:gd name="connsiteY10-102" fmla="*/ 23 h 10023"/>
              <a:gd name="connsiteX11-103" fmla="*/ 0 w 10000"/>
              <a:gd name="connsiteY11-104" fmla="*/ 3739 h 10023"/>
              <a:gd name="connsiteX12-105" fmla="*/ 11 w 10000"/>
              <a:gd name="connsiteY12-106" fmla="*/ 10023 h 10023"/>
              <a:gd name="connsiteX0-107" fmla="*/ 11 w 10000"/>
              <a:gd name="connsiteY0-108" fmla="*/ 10023 h 10023"/>
              <a:gd name="connsiteX1-109" fmla="*/ 10000 w 10000"/>
              <a:gd name="connsiteY1-110" fmla="*/ 10023 h 10023"/>
              <a:gd name="connsiteX2-111" fmla="*/ 10000 w 10000"/>
              <a:gd name="connsiteY2-112" fmla="*/ 5983 h 10023"/>
              <a:gd name="connsiteX3-113" fmla="*/ 9850 w 10000"/>
              <a:gd name="connsiteY3-114" fmla="*/ 5821 h 10023"/>
              <a:gd name="connsiteX4-115" fmla="*/ 8591 w 10000"/>
              <a:gd name="connsiteY4-116" fmla="*/ 3648 h 10023"/>
              <a:gd name="connsiteX5-117" fmla="*/ 7753 w 10000"/>
              <a:gd name="connsiteY5-118" fmla="*/ 2519 h 10023"/>
              <a:gd name="connsiteX6-119" fmla="*/ 6327 w 10000"/>
              <a:gd name="connsiteY6-120" fmla="*/ 3452 h 10023"/>
              <a:gd name="connsiteX7-121" fmla="*/ 5094 w 10000"/>
              <a:gd name="connsiteY7-122" fmla="*/ 5660 h 10023"/>
              <a:gd name="connsiteX8-123" fmla="*/ 3643 w 10000"/>
              <a:gd name="connsiteY8-124" fmla="*/ 6075 h 10023"/>
              <a:gd name="connsiteX9-125" fmla="*/ 2848 w 10000"/>
              <a:gd name="connsiteY9-126" fmla="*/ 3401 h 10023"/>
              <a:gd name="connsiteX10-127" fmla="*/ 2602 w 10000"/>
              <a:gd name="connsiteY10-128" fmla="*/ 23 h 10023"/>
              <a:gd name="connsiteX11-129" fmla="*/ 0 w 10000"/>
              <a:gd name="connsiteY11-130" fmla="*/ 3739 h 10023"/>
              <a:gd name="connsiteX12-131" fmla="*/ 11 w 10000"/>
              <a:gd name="connsiteY12-132" fmla="*/ 10023 h 10023"/>
              <a:gd name="connsiteX0-133" fmla="*/ 11 w 10000"/>
              <a:gd name="connsiteY0-134" fmla="*/ 10160 h 10160"/>
              <a:gd name="connsiteX1-135" fmla="*/ 10000 w 10000"/>
              <a:gd name="connsiteY1-136" fmla="*/ 10160 h 10160"/>
              <a:gd name="connsiteX2-137" fmla="*/ 10000 w 10000"/>
              <a:gd name="connsiteY2-138" fmla="*/ 6120 h 10160"/>
              <a:gd name="connsiteX3-139" fmla="*/ 9850 w 10000"/>
              <a:gd name="connsiteY3-140" fmla="*/ 5958 h 10160"/>
              <a:gd name="connsiteX4-141" fmla="*/ 8591 w 10000"/>
              <a:gd name="connsiteY4-142" fmla="*/ 3785 h 10160"/>
              <a:gd name="connsiteX5-143" fmla="*/ 7753 w 10000"/>
              <a:gd name="connsiteY5-144" fmla="*/ 2656 h 10160"/>
              <a:gd name="connsiteX6-145" fmla="*/ 6327 w 10000"/>
              <a:gd name="connsiteY6-146" fmla="*/ 3589 h 10160"/>
              <a:gd name="connsiteX7-147" fmla="*/ 5094 w 10000"/>
              <a:gd name="connsiteY7-148" fmla="*/ 5797 h 10160"/>
              <a:gd name="connsiteX8-149" fmla="*/ 3643 w 10000"/>
              <a:gd name="connsiteY8-150" fmla="*/ 6212 h 10160"/>
              <a:gd name="connsiteX9-151" fmla="*/ 2848 w 10000"/>
              <a:gd name="connsiteY9-152" fmla="*/ 3538 h 10160"/>
              <a:gd name="connsiteX10-153" fmla="*/ 2602 w 10000"/>
              <a:gd name="connsiteY10-154" fmla="*/ 160 h 10160"/>
              <a:gd name="connsiteX11-155" fmla="*/ 0 w 10000"/>
              <a:gd name="connsiteY11-156" fmla="*/ 3876 h 10160"/>
              <a:gd name="connsiteX12-157" fmla="*/ 11 w 10000"/>
              <a:gd name="connsiteY12-158" fmla="*/ 10160 h 10160"/>
              <a:gd name="connsiteX0-159" fmla="*/ 11 w 10000"/>
              <a:gd name="connsiteY0-160" fmla="*/ 7580 h 7580"/>
              <a:gd name="connsiteX1-161" fmla="*/ 10000 w 10000"/>
              <a:gd name="connsiteY1-162" fmla="*/ 7580 h 7580"/>
              <a:gd name="connsiteX2-163" fmla="*/ 10000 w 10000"/>
              <a:gd name="connsiteY2-164" fmla="*/ 3540 h 7580"/>
              <a:gd name="connsiteX3-165" fmla="*/ 9850 w 10000"/>
              <a:gd name="connsiteY3-166" fmla="*/ 3378 h 7580"/>
              <a:gd name="connsiteX4-167" fmla="*/ 8591 w 10000"/>
              <a:gd name="connsiteY4-168" fmla="*/ 1205 h 7580"/>
              <a:gd name="connsiteX5-169" fmla="*/ 7753 w 10000"/>
              <a:gd name="connsiteY5-170" fmla="*/ 76 h 7580"/>
              <a:gd name="connsiteX6-171" fmla="*/ 6327 w 10000"/>
              <a:gd name="connsiteY6-172" fmla="*/ 1009 h 7580"/>
              <a:gd name="connsiteX7-173" fmla="*/ 5094 w 10000"/>
              <a:gd name="connsiteY7-174" fmla="*/ 3217 h 7580"/>
              <a:gd name="connsiteX8-175" fmla="*/ 3643 w 10000"/>
              <a:gd name="connsiteY8-176" fmla="*/ 3632 h 7580"/>
              <a:gd name="connsiteX9-177" fmla="*/ 2848 w 10000"/>
              <a:gd name="connsiteY9-178" fmla="*/ 958 h 7580"/>
              <a:gd name="connsiteX10-179" fmla="*/ 0 w 10000"/>
              <a:gd name="connsiteY10-180" fmla="*/ 1296 h 7580"/>
              <a:gd name="connsiteX11-181" fmla="*/ 11 w 10000"/>
              <a:gd name="connsiteY11-182" fmla="*/ 7580 h 7580"/>
              <a:gd name="connsiteX0-183" fmla="*/ 11 w 10000"/>
              <a:gd name="connsiteY0-184" fmla="*/ 9999 h 9999"/>
              <a:gd name="connsiteX1-185" fmla="*/ 10000 w 10000"/>
              <a:gd name="connsiteY1-186" fmla="*/ 9999 h 9999"/>
              <a:gd name="connsiteX2-187" fmla="*/ 10000 w 10000"/>
              <a:gd name="connsiteY2-188" fmla="*/ 4669 h 9999"/>
              <a:gd name="connsiteX3-189" fmla="*/ 9850 w 10000"/>
              <a:gd name="connsiteY3-190" fmla="*/ 4455 h 9999"/>
              <a:gd name="connsiteX4-191" fmla="*/ 8591 w 10000"/>
              <a:gd name="connsiteY4-192" fmla="*/ 1589 h 9999"/>
              <a:gd name="connsiteX5-193" fmla="*/ 7753 w 10000"/>
              <a:gd name="connsiteY5-194" fmla="*/ 99 h 9999"/>
              <a:gd name="connsiteX6-195" fmla="*/ 6327 w 10000"/>
              <a:gd name="connsiteY6-196" fmla="*/ 1330 h 9999"/>
              <a:gd name="connsiteX7-197" fmla="*/ 5094 w 10000"/>
              <a:gd name="connsiteY7-198" fmla="*/ 4243 h 9999"/>
              <a:gd name="connsiteX8-199" fmla="*/ 3643 w 10000"/>
              <a:gd name="connsiteY8-200" fmla="*/ 4791 h 9999"/>
              <a:gd name="connsiteX9-201" fmla="*/ 2848 w 10000"/>
              <a:gd name="connsiteY9-202" fmla="*/ 1263 h 9999"/>
              <a:gd name="connsiteX10-203" fmla="*/ 0 w 10000"/>
              <a:gd name="connsiteY10-204" fmla="*/ 1709 h 9999"/>
              <a:gd name="connsiteX11-205" fmla="*/ 11 w 10000"/>
              <a:gd name="connsiteY11-206" fmla="*/ 9999 h 999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</a:cxnLst>
            <a:rect l="l" t="t" r="r" b="b"/>
            <a:pathLst>
              <a:path w="10000" h="9999">
                <a:moveTo>
                  <a:pt x="11" y="9999"/>
                </a:moveTo>
                <a:lnTo>
                  <a:pt x="10000" y="9999"/>
                </a:lnTo>
                <a:lnTo>
                  <a:pt x="10000" y="4669"/>
                </a:lnTo>
                <a:cubicBezTo>
                  <a:pt x="9949" y="4601"/>
                  <a:pt x="9897" y="4535"/>
                  <a:pt x="9850" y="4455"/>
                </a:cubicBezTo>
                <a:cubicBezTo>
                  <a:pt x="9389" y="3726"/>
                  <a:pt x="8996" y="2608"/>
                  <a:pt x="8591" y="1589"/>
                </a:cubicBezTo>
                <a:cubicBezTo>
                  <a:pt x="8334" y="950"/>
                  <a:pt x="8064" y="322"/>
                  <a:pt x="7753" y="99"/>
                </a:cubicBezTo>
                <a:cubicBezTo>
                  <a:pt x="7259" y="-261"/>
                  <a:pt x="6747" y="411"/>
                  <a:pt x="6327" y="1330"/>
                </a:cubicBezTo>
                <a:cubicBezTo>
                  <a:pt x="5904" y="2248"/>
                  <a:pt x="5535" y="3426"/>
                  <a:pt x="5094" y="4243"/>
                </a:cubicBezTo>
                <a:cubicBezTo>
                  <a:pt x="4654" y="5061"/>
                  <a:pt x="4104" y="5487"/>
                  <a:pt x="3643" y="4791"/>
                </a:cubicBezTo>
                <a:cubicBezTo>
                  <a:pt x="3226" y="4152"/>
                  <a:pt x="3376" y="3160"/>
                  <a:pt x="2848" y="1263"/>
                </a:cubicBezTo>
                <a:cubicBezTo>
                  <a:pt x="2320" y="-634"/>
                  <a:pt x="473" y="252"/>
                  <a:pt x="0" y="1709"/>
                </a:cubicBezTo>
                <a:cubicBezTo>
                  <a:pt x="4" y="4473"/>
                  <a:pt x="7" y="7235"/>
                  <a:pt x="11" y="9999"/>
                </a:cubicBez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ID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30" name="îṧḷiḑê"/>
          <p:cNvSpPr/>
          <p:nvPr/>
        </p:nvSpPr>
        <p:spPr>
          <a:xfrm>
            <a:off x="669925" y="2123672"/>
            <a:ext cx="2324698" cy="3222698"/>
          </a:xfrm>
          <a:prstGeom prst="roundRect">
            <a:avLst>
              <a:gd name="adj" fmla="val 2689"/>
            </a:avLst>
          </a:prstGeom>
          <a:solidFill>
            <a:schemeClr val="bg1"/>
          </a:solidFill>
          <a:ln>
            <a:noFill/>
          </a:ln>
          <a:effectLst>
            <a:outerShdw blurRad="508000" dist="50800" dir="5400000" algn="ctr" rotWithShape="0">
              <a:srgbClr val="000000">
                <a:alpha val="1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32" name="íşlíḑê"/>
          <p:cNvGrpSpPr/>
          <p:nvPr/>
        </p:nvGrpSpPr>
        <p:grpSpPr>
          <a:xfrm>
            <a:off x="669925" y="3827750"/>
            <a:ext cx="2324698" cy="1298165"/>
            <a:chOff x="800223" y="2406469"/>
            <a:chExt cx="2775427" cy="1298165"/>
          </a:xfrm>
        </p:grpSpPr>
        <p:sp>
          <p:nvSpPr>
            <p:cNvPr id="33" name="í$ļíḍè"/>
            <p:cNvSpPr/>
            <p:nvPr/>
          </p:nvSpPr>
          <p:spPr bwMode="auto">
            <a:xfrm>
              <a:off x="800223" y="2848274"/>
              <a:ext cx="2775427" cy="856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……</a:t>
              </a:r>
            </a:p>
          </p:txBody>
        </p:sp>
        <p:sp>
          <p:nvSpPr>
            <p:cNvPr id="34" name="îṥḻiḑe"/>
            <p:cNvSpPr txBox="1"/>
            <p:nvPr/>
          </p:nvSpPr>
          <p:spPr bwMode="auto">
            <a:xfrm>
              <a:off x="800223" y="2406469"/>
              <a:ext cx="277542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0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添加标题</a:t>
              </a:r>
            </a:p>
          </p:txBody>
        </p:sp>
      </p:grpSp>
      <p:sp>
        <p:nvSpPr>
          <p:cNvPr id="25" name="isļiďé"/>
          <p:cNvSpPr/>
          <p:nvPr/>
        </p:nvSpPr>
        <p:spPr>
          <a:xfrm>
            <a:off x="3522853" y="1123950"/>
            <a:ext cx="2324698" cy="3222698"/>
          </a:xfrm>
          <a:prstGeom prst="roundRect">
            <a:avLst>
              <a:gd name="adj" fmla="val 2689"/>
            </a:avLst>
          </a:prstGeom>
          <a:solidFill>
            <a:schemeClr val="bg1"/>
          </a:solidFill>
          <a:ln>
            <a:noFill/>
          </a:ln>
          <a:effectLst>
            <a:outerShdw blurRad="508000" dist="50800" dir="5400000" algn="ctr" rotWithShape="0">
              <a:srgbClr val="000000">
                <a:alpha val="1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27" name="isļíḑê"/>
          <p:cNvGrpSpPr/>
          <p:nvPr/>
        </p:nvGrpSpPr>
        <p:grpSpPr>
          <a:xfrm>
            <a:off x="3522853" y="2828028"/>
            <a:ext cx="2324698" cy="1298165"/>
            <a:chOff x="800223" y="2406469"/>
            <a:chExt cx="2775427" cy="1298165"/>
          </a:xfrm>
        </p:grpSpPr>
        <p:sp>
          <p:nvSpPr>
            <p:cNvPr id="28" name="íşľïḑé"/>
            <p:cNvSpPr/>
            <p:nvPr/>
          </p:nvSpPr>
          <p:spPr bwMode="auto">
            <a:xfrm>
              <a:off x="800223" y="2848274"/>
              <a:ext cx="2775427" cy="856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……</a:t>
              </a:r>
            </a:p>
          </p:txBody>
        </p:sp>
        <p:sp>
          <p:nvSpPr>
            <p:cNvPr id="29" name="íṩḷíďê"/>
            <p:cNvSpPr txBox="1"/>
            <p:nvPr/>
          </p:nvSpPr>
          <p:spPr bwMode="auto">
            <a:xfrm>
              <a:off x="800223" y="2406469"/>
              <a:ext cx="277542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0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添加标题</a:t>
              </a:r>
            </a:p>
          </p:txBody>
        </p:sp>
      </p:grpSp>
      <p:sp>
        <p:nvSpPr>
          <p:cNvPr id="7" name="işḻïḑe"/>
          <p:cNvSpPr txBox="1"/>
          <p:nvPr/>
        </p:nvSpPr>
        <p:spPr>
          <a:xfrm>
            <a:off x="6464301" y="2894101"/>
            <a:ext cx="5056187" cy="7006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 algn="r">
              <a:buSzPct val="25000"/>
            </a:pPr>
            <a:r>
              <a:rPr lang="en-US" sz="20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Unified fonts make reading more fluent</a:t>
            </a:r>
          </a:p>
        </p:txBody>
      </p:sp>
      <p:sp>
        <p:nvSpPr>
          <p:cNvPr id="8" name="íṣlîďé"/>
          <p:cNvSpPr txBox="1"/>
          <p:nvPr/>
        </p:nvSpPr>
        <p:spPr>
          <a:xfrm>
            <a:off x="6464300" y="3594716"/>
            <a:ext cx="5056187" cy="10421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r">
              <a:lnSpc>
                <a:spcPct val="150000"/>
              </a:lnSpc>
              <a:buSzPct val="25000"/>
            </a:pPr>
            <a:r>
              <a:rPr lang="en-US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Theme color makes PPT more convenient to change.</a:t>
            </a:r>
          </a:p>
          <a:p>
            <a:pPr algn="r">
              <a:lnSpc>
                <a:spcPct val="150000"/>
              </a:lnSpc>
              <a:buSzPct val="25000"/>
            </a:pPr>
            <a:r>
              <a:rPr lang="en-US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djust the spacing to adapt to Chinese typesetting, use the reference line in PPT</a:t>
            </a:r>
          </a:p>
        </p:txBody>
      </p:sp>
      <p:cxnSp>
        <p:nvCxnSpPr>
          <p:cNvPr id="9" name="直接连接符 8"/>
          <p:cNvCxnSpPr/>
          <p:nvPr/>
        </p:nvCxnSpPr>
        <p:spPr>
          <a:xfrm flipH="1">
            <a:off x="3675888" y="4782312"/>
            <a:ext cx="784459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íş1íḋê"/>
          <p:cNvSpPr/>
          <p:nvPr/>
        </p:nvSpPr>
        <p:spPr>
          <a:xfrm>
            <a:off x="4098465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4" name="i$ḷîdè"/>
          <p:cNvSpPr txBox="1"/>
          <p:nvPr/>
        </p:nvSpPr>
        <p:spPr bwMode="auto">
          <a:xfrm>
            <a:off x="3675888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21" name="ïṧ1iḓe"/>
          <p:cNvSpPr/>
          <p:nvPr/>
        </p:nvSpPr>
        <p:spPr>
          <a:xfrm>
            <a:off x="5685437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2" name="íš1îďê"/>
          <p:cNvSpPr txBox="1"/>
          <p:nvPr/>
        </p:nvSpPr>
        <p:spPr bwMode="auto">
          <a:xfrm>
            <a:off x="5262860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19" name="îŝľîďê"/>
          <p:cNvSpPr/>
          <p:nvPr/>
        </p:nvSpPr>
        <p:spPr>
          <a:xfrm>
            <a:off x="7272409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0" name="îš1ïḍé"/>
          <p:cNvSpPr txBox="1"/>
          <p:nvPr/>
        </p:nvSpPr>
        <p:spPr bwMode="auto">
          <a:xfrm>
            <a:off x="6849832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17" name="îṧlïḋé"/>
          <p:cNvSpPr/>
          <p:nvPr/>
        </p:nvSpPr>
        <p:spPr>
          <a:xfrm>
            <a:off x="8859381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8" name="iṩḻídê"/>
          <p:cNvSpPr txBox="1"/>
          <p:nvPr/>
        </p:nvSpPr>
        <p:spPr bwMode="auto">
          <a:xfrm>
            <a:off x="8436804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15" name="iSḻiḋê"/>
          <p:cNvSpPr/>
          <p:nvPr/>
        </p:nvSpPr>
        <p:spPr>
          <a:xfrm>
            <a:off x="10446354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6" name="íṣ1iďé"/>
          <p:cNvSpPr txBox="1"/>
          <p:nvPr/>
        </p:nvSpPr>
        <p:spPr bwMode="auto">
          <a:xfrm>
            <a:off x="10023777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35" name="admin-with-cogwheels_78948"/>
          <p:cNvSpPr>
            <a:spLocks noChangeAspect="1"/>
          </p:cNvSpPr>
          <p:nvPr/>
        </p:nvSpPr>
        <p:spPr bwMode="auto">
          <a:xfrm>
            <a:off x="1483206" y="2692708"/>
            <a:ext cx="736886" cy="781183"/>
          </a:xfrm>
          <a:custGeom>
            <a:avLst/>
            <a:gdLst>
              <a:gd name="connsiteX0" fmla="*/ 163934 w 574049"/>
              <a:gd name="connsiteY0" fmla="*/ 419229 h 608556"/>
              <a:gd name="connsiteX1" fmla="*/ 243204 w 574049"/>
              <a:gd name="connsiteY1" fmla="*/ 456825 h 608556"/>
              <a:gd name="connsiteX2" fmla="*/ 322474 w 574049"/>
              <a:gd name="connsiteY2" fmla="*/ 419229 h 608556"/>
              <a:gd name="connsiteX3" fmla="*/ 465217 w 574049"/>
              <a:gd name="connsiteY3" fmla="*/ 530768 h 608556"/>
              <a:gd name="connsiteX4" fmla="*/ 476968 w 574049"/>
              <a:gd name="connsiteY4" fmla="*/ 565383 h 608556"/>
              <a:gd name="connsiteX5" fmla="*/ 472634 w 574049"/>
              <a:gd name="connsiteY5" fmla="*/ 594902 h 608556"/>
              <a:gd name="connsiteX6" fmla="*/ 446050 w 574049"/>
              <a:gd name="connsiteY6" fmla="*/ 608556 h 608556"/>
              <a:gd name="connsiteX7" fmla="*/ 40358 w 574049"/>
              <a:gd name="connsiteY7" fmla="*/ 608556 h 608556"/>
              <a:gd name="connsiteX8" fmla="*/ 13871 w 574049"/>
              <a:gd name="connsiteY8" fmla="*/ 594902 h 608556"/>
              <a:gd name="connsiteX9" fmla="*/ 9440 w 574049"/>
              <a:gd name="connsiteY9" fmla="*/ 565383 h 608556"/>
              <a:gd name="connsiteX10" fmla="*/ 21191 w 574049"/>
              <a:gd name="connsiteY10" fmla="*/ 530768 h 608556"/>
              <a:gd name="connsiteX11" fmla="*/ 163934 w 574049"/>
              <a:gd name="connsiteY11" fmla="*/ 419229 h 608556"/>
              <a:gd name="connsiteX12" fmla="*/ 406631 w 574049"/>
              <a:gd name="connsiteY12" fmla="*/ 313875 h 608556"/>
              <a:gd name="connsiteX13" fmla="*/ 472435 w 574049"/>
              <a:gd name="connsiteY13" fmla="*/ 379473 h 608556"/>
              <a:gd name="connsiteX14" fmla="*/ 438040 w 574049"/>
              <a:gd name="connsiteY14" fmla="*/ 436800 h 608556"/>
              <a:gd name="connsiteX15" fmla="*/ 344006 w 574049"/>
              <a:gd name="connsiteY15" fmla="*/ 390920 h 608556"/>
              <a:gd name="connsiteX16" fmla="*/ 371946 w 574049"/>
              <a:gd name="connsiteY16" fmla="*/ 323974 h 608556"/>
              <a:gd name="connsiteX17" fmla="*/ 406631 w 574049"/>
              <a:gd name="connsiteY17" fmla="*/ 313875 h 608556"/>
              <a:gd name="connsiteX18" fmla="*/ 381817 w 574049"/>
              <a:gd name="connsiteY18" fmla="*/ 212472 h 608556"/>
              <a:gd name="connsiteX19" fmla="*/ 431512 w 574049"/>
              <a:gd name="connsiteY19" fmla="*/ 212472 h 608556"/>
              <a:gd name="connsiteX20" fmla="*/ 445284 w 574049"/>
              <a:gd name="connsiteY20" fmla="*/ 226127 h 608556"/>
              <a:gd name="connsiteX21" fmla="*/ 445284 w 574049"/>
              <a:gd name="connsiteY21" fmla="*/ 254301 h 608556"/>
              <a:gd name="connsiteX22" fmla="*/ 468013 w 574049"/>
              <a:gd name="connsiteY22" fmla="*/ 263725 h 608556"/>
              <a:gd name="connsiteX23" fmla="*/ 488045 w 574049"/>
              <a:gd name="connsiteY23" fmla="*/ 243820 h 608556"/>
              <a:gd name="connsiteX24" fmla="*/ 497773 w 574049"/>
              <a:gd name="connsiteY24" fmla="*/ 239781 h 608556"/>
              <a:gd name="connsiteX25" fmla="*/ 507403 w 574049"/>
              <a:gd name="connsiteY25" fmla="*/ 243820 h 608556"/>
              <a:gd name="connsiteX26" fmla="*/ 542556 w 574049"/>
              <a:gd name="connsiteY26" fmla="*/ 278918 h 608556"/>
              <a:gd name="connsiteX27" fmla="*/ 546601 w 574049"/>
              <a:gd name="connsiteY27" fmla="*/ 288630 h 608556"/>
              <a:gd name="connsiteX28" fmla="*/ 542556 w 574049"/>
              <a:gd name="connsiteY28" fmla="*/ 298246 h 608556"/>
              <a:gd name="connsiteX29" fmla="*/ 522620 w 574049"/>
              <a:gd name="connsiteY29" fmla="*/ 318247 h 608556"/>
              <a:gd name="connsiteX30" fmla="*/ 532155 w 574049"/>
              <a:gd name="connsiteY30" fmla="*/ 340941 h 608556"/>
              <a:gd name="connsiteX31" fmla="*/ 560277 w 574049"/>
              <a:gd name="connsiteY31" fmla="*/ 340941 h 608556"/>
              <a:gd name="connsiteX32" fmla="*/ 574049 w 574049"/>
              <a:gd name="connsiteY32" fmla="*/ 354692 h 608556"/>
              <a:gd name="connsiteX33" fmla="*/ 574049 w 574049"/>
              <a:gd name="connsiteY33" fmla="*/ 404310 h 608556"/>
              <a:gd name="connsiteX34" fmla="*/ 570004 w 574049"/>
              <a:gd name="connsiteY34" fmla="*/ 414022 h 608556"/>
              <a:gd name="connsiteX35" fmla="*/ 560277 w 574049"/>
              <a:gd name="connsiteY35" fmla="*/ 418060 h 608556"/>
              <a:gd name="connsiteX36" fmla="*/ 532155 w 574049"/>
              <a:gd name="connsiteY36" fmla="*/ 418060 h 608556"/>
              <a:gd name="connsiteX37" fmla="*/ 522620 w 574049"/>
              <a:gd name="connsiteY37" fmla="*/ 440754 h 608556"/>
              <a:gd name="connsiteX38" fmla="*/ 542652 w 574049"/>
              <a:gd name="connsiteY38" fmla="*/ 460755 h 608556"/>
              <a:gd name="connsiteX39" fmla="*/ 546601 w 574049"/>
              <a:gd name="connsiteY39" fmla="*/ 470371 h 608556"/>
              <a:gd name="connsiteX40" fmla="*/ 542652 w 574049"/>
              <a:gd name="connsiteY40" fmla="*/ 480083 h 608556"/>
              <a:gd name="connsiteX41" fmla="*/ 507500 w 574049"/>
              <a:gd name="connsiteY41" fmla="*/ 515181 h 608556"/>
              <a:gd name="connsiteX42" fmla="*/ 497773 w 574049"/>
              <a:gd name="connsiteY42" fmla="*/ 519220 h 608556"/>
              <a:gd name="connsiteX43" fmla="*/ 493246 w 574049"/>
              <a:gd name="connsiteY43" fmla="*/ 518355 h 608556"/>
              <a:gd name="connsiteX44" fmla="*/ 453182 w 574049"/>
              <a:gd name="connsiteY44" fmla="*/ 451716 h 608556"/>
              <a:gd name="connsiteX45" fmla="*/ 492861 w 574049"/>
              <a:gd name="connsiteY45" fmla="*/ 379501 h 608556"/>
              <a:gd name="connsiteX46" fmla="*/ 406665 w 574049"/>
              <a:gd name="connsiteY46" fmla="*/ 293534 h 608556"/>
              <a:gd name="connsiteX47" fmla="*/ 377098 w 574049"/>
              <a:gd name="connsiteY47" fmla="*/ 299015 h 608556"/>
              <a:gd name="connsiteX48" fmla="*/ 379698 w 574049"/>
              <a:gd name="connsiteY48" fmla="*/ 265167 h 608556"/>
              <a:gd name="connsiteX49" fmla="*/ 373149 w 574049"/>
              <a:gd name="connsiteY49" fmla="*/ 215741 h 608556"/>
              <a:gd name="connsiteX50" fmla="*/ 381817 w 574049"/>
              <a:gd name="connsiteY50" fmla="*/ 212472 h 608556"/>
              <a:gd name="connsiteX51" fmla="*/ 243227 w 574049"/>
              <a:gd name="connsiteY51" fmla="*/ 144222 h 608556"/>
              <a:gd name="connsiteX52" fmla="*/ 348920 w 574049"/>
              <a:gd name="connsiteY52" fmla="*/ 265117 h 608556"/>
              <a:gd name="connsiteX53" fmla="*/ 243190 w 574049"/>
              <a:gd name="connsiteY53" fmla="*/ 426215 h 608556"/>
              <a:gd name="connsiteX54" fmla="*/ 137461 w 574049"/>
              <a:gd name="connsiteY54" fmla="*/ 265117 h 608556"/>
              <a:gd name="connsiteX55" fmla="*/ 243227 w 574049"/>
              <a:gd name="connsiteY55" fmla="*/ 144222 h 608556"/>
              <a:gd name="connsiteX56" fmla="*/ 279862 w 574049"/>
              <a:gd name="connsiteY56" fmla="*/ 119148 h 608556"/>
              <a:gd name="connsiteX57" fmla="*/ 310064 w 574049"/>
              <a:gd name="connsiteY57" fmla="*/ 131181 h 608556"/>
              <a:gd name="connsiteX58" fmla="*/ 279862 w 574049"/>
              <a:gd name="connsiteY58" fmla="*/ 119148 h 608556"/>
              <a:gd name="connsiteX59" fmla="*/ 155080 w 574049"/>
              <a:gd name="connsiteY59" fmla="*/ 94840 h 608556"/>
              <a:gd name="connsiteX60" fmla="*/ 203722 w 574049"/>
              <a:gd name="connsiteY60" fmla="*/ 119842 h 608556"/>
              <a:gd name="connsiteX61" fmla="*/ 117804 w 574049"/>
              <a:gd name="connsiteY61" fmla="*/ 201676 h 608556"/>
              <a:gd name="connsiteX62" fmla="*/ 155080 w 574049"/>
              <a:gd name="connsiteY62" fmla="*/ 94840 h 608556"/>
              <a:gd name="connsiteX63" fmla="*/ 131962 w 574049"/>
              <a:gd name="connsiteY63" fmla="*/ 0 h 608556"/>
              <a:gd name="connsiteX64" fmla="*/ 178101 w 574049"/>
              <a:gd name="connsiteY64" fmla="*/ 0 h 608556"/>
              <a:gd name="connsiteX65" fmla="*/ 190816 w 574049"/>
              <a:gd name="connsiteY65" fmla="*/ 12695 h 608556"/>
              <a:gd name="connsiteX66" fmla="*/ 190816 w 574049"/>
              <a:gd name="connsiteY66" fmla="*/ 38757 h 608556"/>
              <a:gd name="connsiteX67" fmla="*/ 211911 w 574049"/>
              <a:gd name="connsiteY67" fmla="*/ 47509 h 608556"/>
              <a:gd name="connsiteX68" fmla="*/ 230501 w 574049"/>
              <a:gd name="connsiteY68" fmla="*/ 29044 h 608556"/>
              <a:gd name="connsiteX69" fmla="*/ 239459 w 574049"/>
              <a:gd name="connsiteY69" fmla="*/ 25389 h 608556"/>
              <a:gd name="connsiteX70" fmla="*/ 248417 w 574049"/>
              <a:gd name="connsiteY70" fmla="*/ 29044 h 608556"/>
              <a:gd name="connsiteX71" fmla="*/ 280975 w 574049"/>
              <a:gd name="connsiteY71" fmla="*/ 61646 h 608556"/>
              <a:gd name="connsiteX72" fmla="*/ 284731 w 574049"/>
              <a:gd name="connsiteY72" fmla="*/ 70590 h 608556"/>
              <a:gd name="connsiteX73" fmla="*/ 280975 w 574049"/>
              <a:gd name="connsiteY73" fmla="*/ 79534 h 608556"/>
              <a:gd name="connsiteX74" fmla="*/ 262481 w 574049"/>
              <a:gd name="connsiteY74" fmla="*/ 97999 h 608556"/>
              <a:gd name="connsiteX75" fmla="*/ 270379 w 574049"/>
              <a:gd name="connsiteY75" fmla="*/ 116848 h 608556"/>
              <a:gd name="connsiteX76" fmla="*/ 224915 w 574049"/>
              <a:gd name="connsiteY76" fmla="*/ 115502 h 608556"/>
              <a:gd name="connsiteX77" fmla="*/ 155080 w 574049"/>
              <a:gd name="connsiteY77" fmla="*/ 74437 h 608556"/>
              <a:gd name="connsiteX78" fmla="*/ 74458 w 574049"/>
              <a:gd name="connsiteY78" fmla="*/ 154836 h 608556"/>
              <a:gd name="connsiteX79" fmla="*/ 111638 w 574049"/>
              <a:gd name="connsiteY79" fmla="*/ 222445 h 608556"/>
              <a:gd name="connsiteX80" fmla="*/ 106822 w 574049"/>
              <a:gd name="connsiteY80" fmla="*/ 265145 h 608556"/>
              <a:gd name="connsiteX81" fmla="*/ 106822 w 574049"/>
              <a:gd name="connsiteY81" fmla="*/ 265818 h 608556"/>
              <a:gd name="connsiteX82" fmla="*/ 98153 w 574049"/>
              <a:gd name="connsiteY82" fmla="*/ 262163 h 608556"/>
              <a:gd name="connsiteX83" fmla="*/ 79659 w 574049"/>
              <a:gd name="connsiteY83" fmla="*/ 280628 h 608556"/>
              <a:gd name="connsiteX84" fmla="*/ 70701 w 574049"/>
              <a:gd name="connsiteY84" fmla="*/ 284379 h 608556"/>
              <a:gd name="connsiteX85" fmla="*/ 61647 w 574049"/>
              <a:gd name="connsiteY85" fmla="*/ 280628 h 608556"/>
              <a:gd name="connsiteX86" fmla="*/ 29089 w 574049"/>
              <a:gd name="connsiteY86" fmla="*/ 248122 h 608556"/>
              <a:gd name="connsiteX87" fmla="*/ 29089 w 574049"/>
              <a:gd name="connsiteY87" fmla="*/ 230138 h 608556"/>
              <a:gd name="connsiteX88" fmla="*/ 47583 w 574049"/>
              <a:gd name="connsiteY88" fmla="*/ 211673 h 608556"/>
              <a:gd name="connsiteX89" fmla="*/ 38722 w 574049"/>
              <a:gd name="connsiteY89" fmla="*/ 190612 h 608556"/>
              <a:gd name="connsiteX90" fmla="*/ 12715 w 574049"/>
              <a:gd name="connsiteY90" fmla="*/ 190612 h 608556"/>
              <a:gd name="connsiteX91" fmla="*/ 0 w 574049"/>
              <a:gd name="connsiteY91" fmla="*/ 177821 h 608556"/>
              <a:gd name="connsiteX92" fmla="*/ 0 w 574049"/>
              <a:gd name="connsiteY92" fmla="*/ 131851 h 608556"/>
              <a:gd name="connsiteX93" fmla="*/ 12715 w 574049"/>
              <a:gd name="connsiteY93" fmla="*/ 119156 h 608556"/>
              <a:gd name="connsiteX94" fmla="*/ 38818 w 574049"/>
              <a:gd name="connsiteY94" fmla="*/ 119156 h 608556"/>
              <a:gd name="connsiteX95" fmla="*/ 47583 w 574049"/>
              <a:gd name="connsiteY95" fmla="*/ 98095 h 608556"/>
              <a:gd name="connsiteX96" fmla="*/ 29089 w 574049"/>
              <a:gd name="connsiteY96" fmla="*/ 79630 h 608556"/>
              <a:gd name="connsiteX97" fmla="*/ 25333 w 574049"/>
              <a:gd name="connsiteY97" fmla="*/ 70590 h 608556"/>
              <a:gd name="connsiteX98" fmla="*/ 29089 w 574049"/>
              <a:gd name="connsiteY98" fmla="*/ 61646 h 608556"/>
              <a:gd name="connsiteX99" fmla="*/ 61647 w 574049"/>
              <a:gd name="connsiteY99" fmla="*/ 29044 h 608556"/>
              <a:gd name="connsiteX100" fmla="*/ 70701 w 574049"/>
              <a:gd name="connsiteY100" fmla="*/ 25389 h 608556"/>
              <a:gd name="connsiteX101" fmla="*/ 79659 w 574049"/>
              <a:gd name="connsiteY101" fmla="*/ 29140 h 608556"/>
              <a:gd name="connsiteX102" fmla="*/ 98153 w 574049"/>
              <a:gd name="connsiteY102" fmla="*/ 47509 h 608556"/>
              <a:gd name="connsiteX103" fmla="*/ 119248 w 574049"/>
              <a:gd name="connsiteY103" fmla="*/ 38757 h 608556"/>
              <a:gd name="connsiteX104" fmla="*/ 119248 w 574049"/>
              <a:gd name="connsiteY104" fmla="*/ 12695 h 608556"/>
              <a:gd name="connsiteX105" fmla="*/ 131962 w 574049"/>
              <a:gd name="connsiteY105" fmla="*/ 0 h 608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574049" h="608556">
                <a:moveTo>
                  <a:pt x="163934" y="419229"/>
                </a:moveTo>
                <a:cubicBezTo>
                  <a:pt x="185702" y="442210"/>
                  <a:pt x="212671" y="456825"/>
                  <a:pt x="243204" y="456825"/>
                </a:cubicBezTo>
                <a:cubicBezTo>
                  <a:pt x="273737" y="456825"/>
                  <a:pt x="300706" y="442210"/>
                  <a:pt x="322474" y="419229"/>
                </a:cubicBezTo>
                <a:cubicBezTo>
                  <a:pt x="387585" y="424998"/>
                  <a:pt x="443835" y="468075"/>
                  <a:pt x="465217" y="530768"/>
                </a:cubicBezTo>
                <a:lnTo>
                  <a:pt x="476968" y="565383"/>
                </a:lnTo>
                <a:cubicBezTo>
                  <a:pt x="480339" y="575383"/>
                  <a:pt x="478702" y="586344"/>
                  <a:pt x="472634" y="594902"/>
                </a:cubicBezTo>
                <a:cubicBezTo>
                  <a:pt x="466469" y="603460"/>
                  <a:pt x="456549" y="608556"/>
                  <a:pt x="446050" y="608556"/>
                </a:cubicBezTo>
                <a:lnTo>
                  <a:pt x="40358" y="608556"/>
                </a:lnTo>
                <a:cubicBezTo>
                  <a:pt x="29859" y="608556"/>
                  <a:pt x="19939" y="603460"/>
                  <a:pt x="13871" y="594902"/>
                </a:cubicBezTo>
                <a:cubicBezTo>
                  <a:pt x="7706" y="586344"/>
                  <a:pt x="6069" y="575383"/>
                  <a:pt x="9440" y="565383"/>
                </a:cubicBezTo>
                <a:lnTo>
                  <a:pt x="21191" y="530768"/>
                </a:lnTo>
                <a:cubicBezTo>
                  <a:pt x="42573" y="468075"/>
                  <a:pt x="98919" y="424998"/>
                  <a:pt x="163934" y="419229"/>
                </a:cubicBezTo>
                <a:close/>
                <a:moveTo>
                  <a:pt x="406631" y="313875"/>
                </a:moveTo>
                <a:cubicBezTo>
                  <a:pt x="442857" y="313875"/>
                  <a:pt x="472435" y="343308"/>
                  <a:pt x="472435" y="379473"/>
                </a:cubicBezTo>
                <a:cubicBezTo>
                  <a:pt x="472435" y="404289"/>
                  <a:pt x="458369" y="425642"/>
                  <a:pt x="438040" y="436800"/>
                </a:cubicBezTo>
                <a:cubicBezTo>
                  <a:pt x="411641" y="413523"/>
                  <a:pt x="379269" y="397556"/>
                  <a:pt x="344006" y="390920"/>
                </a:cubicBezTo>
                <a:cubicBezTo>
                  <a:pt x="356435" y="370913"/>
                  <a:pt x="365973" y="347925"/>
                  <a:pt x="371946" y="323974"/>
                </a:cubicBezTo>
                <a:cubicBezTo>
                  <a:pt x="382063" y="317626"/>
                  <a:pt x="393913" y="313875"/>
                  <a:pt x="406631" y="313875"/>
                </a:cubicBezTo>
                <a:close/>
                <a:moveTo>
                  <a:pt x="381817" y="212472"/>
                </a:moveTo>
                <a:lnTo>
                  <a:pt x="431512" y="212472"/>
                </a:lnTo>
                <a:cubicBezTo>
                  <a:pt x="439121" y="212472"/>
                  <a:pt x="445284" y="218530"/>
                  <a:pt x="445284" y="226127"/>
                </a:cubicBezTo>
                <a:lnTo>
                  <a:pt x="445284" y="254301"/>
                </a:lnTo>
                <a:cubicBezTo>
                  <a:pt x="453182" y="256705"/>
                  <a:pt x="460790" y="259879"/>
                  <a:pt x="468013" y="263725"/>
                </a:cubicBezTo>
                <a:lnTo>
                  <a:pt x="488045" y="243820"/>
                </a:lnTo>
                <a:cubicBezTo>
                  <a:pt x="490742" y="241127"/>
                  <a:pt x="494209" y="239781"/>
                  <a:pt x="497773" y="239781"/>
                </a:cubicBezTo>
                <a:cubicBezTo>
                  <a:pt x="501240" y="239781"/>
                  <a:pt x="504803" y="241127"/>
                  <a:pt x="507403" y="243820"/>
                </a:cubicBezTo>
                <a:lnTo>
                  <a:pt x="542556" y="278918"/>
                </a:lnTo>
                <a:cubicBezTo>
                  <a:pt x="545157" y="281514"/>
                  <a:pt x="546601" y="284976"/>
                  <a:pt x="546601" y="288630"/>
                </a:cubicBezTo>
                <a:cubicBezTo>
                  <a:pt x="546601" y="292188"/>
                  <a:pt x="545157" y="295746"/>
                  <a:pt x="542556" y="298246"/>
                </a:cubicBezTo>
                <a:lnTo>
                  <a:pt x="522620" y="318247"/>
                </a:lnTo>
                <a:cubicBezTo>
                  <a:pt x="526473" y="325459"/>
                  <a:pt x="529651" y="333056"/>
                  <a:pt x="532155" y="340941"/>
                </a:cubicBezTo>
                <a:lnTo>
                  <a:pt x="560277" y="340941"/>
                </a:lnTo>
                <a:cubicBezTo>
                  <a:pt x="567885" y="340941"/>
                  <a:pt x="574049" y="347095"/>
                  <a:pt x="574049" y="354692"/>
                </a:cubicBezTo>
                <a:lnTo>
                  <a:pt x="574049" y="404310"/>
                </a:lnTo>
                <a:cubicBezTo>
                  <a:pt x="574049" y="407964"/>
                  <a:pt x="572605" y="411425"/>
                  <a:pt x="570004" y="414022"/>
                </a:cubicBezTo>
                <a:cubicBezTo>
                  <a:pt x="567500" y="416618"/>
                  <a:pt x="563937" y="418060"/>
                  <a:pt x="560277" y="418060"/>
                </a:cubicBezTo>
                <a:lnTo>
                  <a:pt x="532155" y="418060"/>
                </a:lnTo>
                <a:cubicBezTo>
                  <a:pt x="529651" y="425946"/>
                  <a:pt x="526473" y="433542"/>
                  <a:pt x="522620" y="440754"/>
                </a:cubicBezTo>
                <a:lnTo>
                  <a:pt x="542652" y="460755"/>
                </a:lnTo>
                <a:cubicBezTo>
                  <a:pt x="545157" y="463255"/>
                  <a:pt x="546601" y="466813"/>
                  <a:pt x="546601" y="470371"/>
                </a:cubicBezTo>
                <a:cubicBezTo>
                  <a:pt x="546601" y="474025"/>
                  <a:pt x="545157" y="477487"/>
                  <a:pt x="542652" y="480083"/>
                </a:cubicBezTo>
                <a:lnTo>
                  <a:pt x="507500" y="515181"/>
                </a:lnTo>
                <a:cubicBezTo>
                  <a:pt x="504803" y="517874"/>
                  <a:pt x="501240" y="519220"/>
                  <a:pt x="497773" y="519220"/>
                </a:cubicBezTo>
                <a:cubicBezTo>
                  <a:pt x="496232" y="519220"/>
                  <a:pt x="494691" y="518835"/>
                  <a:pt x="493246" y="518355"/>
                </a:cubicBezTo>
                <a:cubicBezTo>
                  <a:pt x="484289" y="493161"/>
                  <a:pt x="470517" y="470660"/>
                  <a:pt x="453182" y="451716"/>
                </a:cubicBezTo>
                <a:cubicBezTo>
                  <a:pt x="476970" y="436331"/>
                  <a:pt x="492861" y="409791"/>
                  <a:pt x="492861" y="379501"/>
                </a:cubicBezTo>
                <a:cubicBezTo>
                  <a:pt x="492861" y="332094"/>
                  <a:pt x="454145" y="293534"/>
                  <a:pt x="406665" y="293534"/>
                </a:cubicBezTo>
                <a:cubicBezTo>
                  <a:pt x="396263" y="293534"/>
                  <a:pt x="386440" y="295650"/>
                  <a:pt x="377098" y="299015"/>
                </a:cubicBezTo>
                <a:cubicBezTo>
                  <a:pt x="378735" y="287765"/>
                  <a:pt x="379698" y="276418"/>
                  <a:pt x="379698" y="265167"/>
                </a:cubicBezTo>
                <a:cubicBezTo>
                  <a:pt x="379698" y="247570"/>
                  <a:pt x="377387" y="231031"/>
                  <a:pt x="373149" y="215741"/>
                </a:cubicBezTo>
                <a:cubicBezTo>
                  <a:pt x="375557" y="213818"/>
                  <a:pt x="378542" y="212472"/>
                  <a:pt x="381817" y="212472"/>
                </a:cubicBezTo>
                <a:close/>
                <a:moveTo>
                  <a:pt x="243227" y="144222"/>
                </a:moveTo>
                <a:cubicBezTo>
                  <a:pt x="296103" y="144270"/>
                  <a:pt x="348968" y="184617"/>
                  <a:pt x="348920" y="265117"/>
                </a:cubicBezTo>
                <a:cubicBezTo>
                  <a:pt x="348920" y="342829"/>
                  <a:pt x="301640" y="426215"/>
                  <a:pt x="243190" y="426215"/>
                </a:cubicBezTo>
                <a:cubicBezTo>
                  <a:pt x="184837" y="426215"/>
                  <a:pt x="137461" y="342829"/>
                  <a:pt x="137461" y="265117"/>
                </a:cubicBezTo>
                <a:cubicBezTo>
                  <a:pt x="137461" y="184424"/>
                  <a:pt x="190350" y="144174"/>
                  <a:pt x="243227" y="144222"/>
                </a:cubicBezTo>
                <a:close/>
                <a:moveTo>
                  <a:pt x="279862" y="119148"/>
                </a:moveTo>
                <a:cubicBezTo>
                  <a:pt x="294336" y="119148"/>
                  <a:pt x="309292" y="116645"/>
                  <a:pt x="310064" y="131181"/>
                </a:cubicBezTo>
                <a:cubicBezTo>
                  <a:pt x="300704" y="125983"/>
                  <a:pt x="290573" y="121940"/>
                  <a:pt x="279862" y="119148"/>
                </a:cubicBezTo>
                <a:close/>
                <a:moveTo>
                  <a:pt x="155080" y="94840"/>
                </a:moveTo>
                <a:cubicBezTo>
                  <a:pt x="175115" y="94840"/>
                  <a:pt x="192838" y="104745"/>
                  <a:pt x="203722" y="119842"/>
                </a:cubicBezTo>
                <a:cubicBezTo>
                  <a:pt x="163749" y="131478"/>
                  <a:pt x="133216" y="160807"/>
                  <a:pt x="117804" y="201676"/>
                </a:cubicBezTo>
                <a:cubicBezTo>
                  <a:pt x="72823" y="165904"/>
                  <a:pt x="98733" y="94840"/>
                  <a:pt x="155080" y="94840"/>
                </a:cubicBezTo>
                <a:close/>
                <a:moveTo>
                  <a:pt x="131962" y="0"/>
                </a:moveTo>
                <a:lnTo>
                  <a:pt x="178101" y="0"/>
                </a:lnTo>
                <a:cubicBezTo>
                  <a:pt x="185133" y="0"/>
                  <a:pt x="190816" y="5674"/>
                  <a:pt x="190816" y="12695"/>
                </a:cubicBezTo>
                <a:lnTo>
                  <a:pt x="190816" y="38757"/>
                </a:lnTo>
                <a:cubicBezTo>
                  <a:pt x="198233" y="41065"/>
                  <a:pt x="205265" y="44047"/>
                  <a:pt x="211911" y="47509"/>
                </a:cubicBezTo>
                <a:lnTo>
                  <a:pt x="230501" y="29044"/>
                </a:lnTo>
                <a:cubicBezTo>
                  <a:pt x="232909" y="26543"/>
                  <a:pt x="236184" y="25389"/>
                  <a:pt x="239459" y="25389"/>
                </a:cubicBezTo>
                <a:cubicBezTo>
                  <a:pt x="242734" y="25389"/>
                  <a:pt x="245913" y="26543"/>
                  <a:pt x="248417" y="29044"/>
                </a:cubicBezTo>
                <a:lnTo>
                  <a:pt x="280975" y="61646"/>
                </a:lnTo>
                <a:cubicBezTo>
                  <a:pt x="283383" y="63954"/>
                  <a:pt x="284731" y="67224"/>
                  <a:pt x="284731" y="70590"/>
                </a:cubicBezTo>
                <a:cubicBezTo>
                  <a:pt x="284731" y="73956"/>
                  <a:pt x="283383" y="77226"/>
                  <a:pt x="280975" y="79534"/>
                </a:cubicBezTo>
                <a:lnTo>
                  <a:pt x="262481" y="97999"/>
                </a:lnTo>
                <a:cubicBezTo>
                  <a:pt x="265659" y="103961"/>
                  <a:pt x="268260" y="110405"/>
                  <a:pt x="270379" y="116848"/>
                </a:cubicBezTo>
                <a:cubicBezTo>
                  <a:pt x="253619" y="113675"/>
                  <a:pt x="239748" y="113675"/>
                  <a:pt x="224915" y="115502"/>
                </a:cubicBezTo>
                <a:cubicBezTo>
                  <a:pt x="211044" y="91171"/>
                  <a:pt x="185133" y="74437"/>
                  <a:pt x="155080" y="74437"/>
                </a:cubicBezTo>
                <a:cubicBezTo>
                  <a:pt x="110675" y="74437"/>
                  <a:pt x="74458" y="110501"/>
                  <a:pt x="74458" y="154836"/>
                </a:cubicBezTo>
                <a:cubicBezTo>
                  <a:pt x="74458" y="183207"/>
                  <a:pt x="89388" y="208115"/>
                  <a:pt x="111638" y="222445"/>
                </a:cubicBezTo>
                <a:cubicBezTo>
                  <a:pt x="108556" y="235812"/>
                  <a:pt x="106822" y="250046"/>
                  <a:pt x="106822" y="265145"/>
                </a:cubicBezTo>
                <a:cubicBezTo>
                  <a:pt x="106822" y="265337"/>
                  <a:pt x="106822" y="265626"/>
                  <a:pt x="106822" y="265818"/>
                </a:cubicBezTo>
                <a:cubicBezTo>
                  <a:pt x="104029" y="264568"/>
                  <a:pt x="100946" y="263606"/>
                  <a:pt x="98153" y="262163"/>
                </a:cubicBezTo>
                <a:lnTo>
                  <a:pt x="79659" y="280628"/>
                </a:lnTo>
                <a:cubicBezTo>
                  <a:pt x="77251" y="283033"/>
                  <a:pt x="74072" y="284379"/>
                  <a:pt x="70701" y="284379"/>
                </a:cubicBezTo>
                <a:cubicBezTo>
                  <a:pt x="67330" y="284379"/>
                  <a:pt x="64055" y="283033"/>
                  <a:pt x="61647" y="280628"/>
                </a:cubicBezTo>
                <a:lnTo>
                  <a:pt x="29089" y="248122"/>
                </a:lnTo>
                <a:cubicBezTo>
                  <a:pt x="24081" y="243121"/>
                  <a:pt x="24081" y="235043"/>
                  <a:pt x="29089" y="230138"/>
                </a:cubicBezTo>
                <a:lnTo>
                  <a:pt x="47583" y="211673"/>
                </a:lnTo>
                <a:cubicBezTo>
                  <a:pt x="44020" y="204941"/>
                  <a:pt x="41034" y="197921"/>
                  <a:pt x="38722" y="190612"/>
                </a:cubicBezTo>
                <a:lnTo>
                  <a:pt x="12715" y="190612"/>
                </a:lnTo>
                <a:cubicBezTo>
                  <a:pt x="5683" y="190612"/>
                  <a:pt x="0" y="184842"/>
                  <a:pt x="0" y="177821"/>
                </a:cubicBezTo>
                <a:lnTo>
                  <a:pt x="0" y="131851"/>
                </a:lnTo>
                <a:cubicBezTo>
                  <a:pt x="0" y="124831"/>
                  <a:pt x="5683" y="119156"/>
                  <a:pt x="12715" y="119156"/>
                </a:cubicBezTo>
                <a:lnTo>
                  <a:pt x="38818" y="119156"/>
                </a:lnTo>
                <a:cubicBezTo>
                  <a:pt x="41034" y="111751"/>
                  <a:pt x="44020" y="104731"/>
                  <a:pt x="47583" y="98095"/>
                </a:cubicBezTo>
                <a:lnTo>
                  <a:pt x="29089" y="79630"/>
                </a:lnTo>
                <a:cubicBezTo>
                  <a:pt x="26681" y="77226"/>
                  <a:pt x="25333" y="73956"/>
                  <a:pt x="25333" y="70590"/>
                </a:cubicBezTo>
                <a:cubicBezTo>
                  <a:pt x="25333" y="67224"/>
                  <a:pt x="26681" y="63954"/>
                  <a:pt x="29089" y="61646"/>
                </a:cubicBezTo>
                <a:lnTo>
                  <a:pt x="61647" y="29044"/>
                </a:lnTo>
                <a:cubicBezTo>
                  <a:pt x="64151" y="26639"/>
                  <a:pt x="67426" y="25389"/>
                  <a:pt x="70701" y="25389"/>
                </a:cubicBezTo>
                <a:cubicBezTo>
                  <a:pt x="73976" y="25389"/>
                  <a:pt x="77155" y="26639"/>
                  <a:pt x="79659" y="29140"/>
                </a:cubicBezTo>
                <a:lnTo>
                  <a:pt x="98153" y="47509"/>
                </a:lnTo>
                <a:cubicBezTo>
                  <a:pt x="104896" y="44047"/>
                  <a:pt x="111927" y="41065"/>
                  <a:pt x="119248" y="38757"/>
                </a:cubicBezTo>
                <a:lnTo>
                  <a:pt x="119248" y="12695"/>
                </a:lnTo>
                <a:cubicBezTo>
                  <a:pt x="119248" y="5674"/>
                  <a:pt x="125027" y="0"/>
                  <a:pt x="131962" y="0"/>
                </a:cubicBezTo>
                <a:close/>
              </a:path>
            </a:pathLst>
          </a:custGeom>
          <a:gradFill>
            <a:gsLst>
              <a:gs pos="2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6" name="progress-report_18229"/>
          <p:cNvSpPr>
            <a:spLocks noChangeAspect="1"/>
          </p:cNvSpPr>
          <p:nvPr/>
        </p:nvSpPr>
        <p:spPr bwMode="auto">
          <a:xfrm>
            <a:off x="4290048" y="1795677"/>
            <a:ext cx="781182" cy="708825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gradFill>
            <a:gsLst>
              <a:gs pos="2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/>
      <p:bldP spid="8" grpId="0"/>
      <p:bldP spid="23" grpId="0" animBg="1"/>
      <p:bldP spid="24" grpId="0"/>
      <p:bldP spid="21" grpId="0" animBg="1"/>
      <p:bldP spid="22" grpId="0"/>
      <p:bldP spid="19" grpId="0" animBg="1"/>
      <p:bldP spid="20" grpId="0"/>
      <p:bldP spid="17" grpId="0" animBg="1"/>
      <p:bldP spid="18" grpId="0"/>
      <p:bldP spid="15" grpId="0" animBg="1"/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ṩľíďê"/>
          <p:cNvSpPr/>
          <p:nvPr/>
        </p:nvSpPr>
        <p:spPr>
          <a:xfrm>
            <a:off x="5341759" y="1782229"/>
            <a:ext cx="1813710" cy="4329018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8" name="îSľiḋe"/>
          <p:cNvSpPr/>
          <p:nvPr/>
        </p:nvSpPr>
        <p:spPr>
          <a:xfrm>
            <a:off x="7267694" y="1782229"/>
            <a:ext cx="1813710" cy="4329018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9" name="îš1íḑe"/>
          <p:cNvSpPr/>
          <p:nvPr/>
        </p:nvSpPr>
        <p:spPr>
          <a:xfrm>
            <a:off x="9193629" y="1782229"/>
            <a:ext cx="1813710" cy="4329018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0" name="îṡ1ïďé"/>
          <p:cNvSpPr/>
          <p:nvPr/>
        </p:nvSpPr>
        <p:spPr bwMode="auto">
          <a:xfrm>
            <a:off x="5960314" y="5036269"/>
            <a:ext cx="503719" cy="503719"/>
          </a:xfrm>
          <a:custGeom>
            <a:avLst/>
            <a:gdLst>
              <a:gd name="T0" fmla="*/ 223 w 228"/>
              <a:gd name="T1" fmla="*/ 95 h 228"/>
              <a:gd name="T2" fmla="*/ 196 w 228"/>
              <a:gd name="T3" fmla="*/ 90 h 228"/>
              <a:gd name="T4" fmla="*/ 189 w 228"/>
              <a:gd name="T5" fmla="*/ 74 h 228"/>
              <a:gd name="T6" fmla="*/ 205 w 228"/>
              <a:gd name="T7" fmla="*/ 50 h 228"/>
              <a:gd name="T8" fmla="*/ 205 w 228"/>
              <a:gd name="T9" fmla="*/ 43 h 228"/>
              <a:gd name="T10" fmla="*/ 185 w 228"/>
              <a:gd name="T11" fmla="*/ 24 h 228"/>
              <a:gd name="T12" fmla="*/ 178 w 228"/>
              <a:gd name="T13" fmla="*/ 23 h 228"/>
              <a:gd name="T14" fmla="*/ 155 w 228"/>
              <a:gd name="T15" fmla="*/ 39 h 228"/>
              <a:gd name="T16" fmla="*/ 138 w 228"/>
              <a:gd name="T17" fmla="*/ 32 h 228"/>
              <a:gd name="T18" fmla="*/ 133 w 228"/>
              <a:gd name="T19" fmla="*/ 5 h 228"/>
              <a:gd name="T20" fmla="*/ 127 w 228"/>
              <a:gd name="T21" fmla="*/ 0 h 228"/>
              <a:gd name="T22" fmla="*/ 100 w 228"/>
              <a:gd name="T23" fmla="*/ 0 h 228"/>
              <a:gd name="T24" fmla="*/ 94 w 228"/>
              <a:gd name="T25" fmla="*/ 5 h 228"/>
              <a:gd name="T26" fmla="*/ 89 w 228"/>
              <a:gd name="T27" fmla="*/ 32 h 228"/>
              <a:gd name="T28" fmla="*/ 73 w 228"/>
              <a:gd name="T29" fmla="*/ 39 h 228"/>
              <a:gd name="T30" fmla="*/ 50 w 228"/>
              <a:gd name="T31" fmla="*/ 23 h 228"/>
              <a:gd name="T32" fmla="*/ 43 w 228"/>
              <a:gd name="T33" fmla="*/ 24 h 228"/>
              <a:gd name="T34" fmla="*/ 23 w 228"/>
              <a:gd name="T35" fmla="*/ 43 h 228"/>
              <a:gd name="T36" fmla="*/ 23 w 228"/>
              <a:gd name="T37" fmla="*/ 51 h 228"/>
              <a:gd name="T38" fmla="*/ 39 w 228"/>
              <a:gd name="T39" fmla="*/ 74 h 228"/>
              <a:gd name="T40" fmla="*/ 32 w 228"/>
              <a:gd name="T41" fmla="*/ 90 h 228"/>
              <a:gd name="T42" fmla="*/ 5 w 228"/>
              <a:gd name="T43" fmla="*/ 95 h 228"/>
              <a:gd name="T44" fmla="*/ 0 w 228"/>
              <a:gd name="T45" fmla="*/ 100 h 228"/>
              <a:gd name="T46" fmla="*/ 0 w 228"/>
              <a:gd name="T47" fmla="*/ 128 h 228"/>
              <a:gd name="T48" fmla="*/ 5 w 228"/>
              <a:gd name="T49" fmla="*/ 134 h 228"/>
              <a:gd name="T50" fmla="*/ 32 w 228"/>
              <a:gd name="T51" fmla="*/ 139 h 228"/>
              <a:gd name="T52" fmla="*/ 39 w 228"/>
              <a:gd name="T53" fmla="*/ 155 h 228"/>
              <a:gd name="T54" fmla="*/ 23 w 228"/>
              <a:gd name="T55" fmla="*/ 178 h 228"/>
              <a:gd name="T56" fmla="*/ 24 w 228"/>
              <a:gd name="T57" fmla="*/ 185 h 228"/>
              <a:gd name="T58" fmla="*/ 43 w 228"/>
              <a:gd name="T59" fmla="*/ 204 h 228"/>
              <a:gd name="T60" fmla="*/ 51 w 228"/>
              <a:gd name="T61" fmla="*/ 205 h 228"/>
              <a:gd name="T62" fmla="*/ 73 w 228"/>
              <a:gd name="T63" fmla="*/ 189 h 228"/>
              <a:gd name="T64" fmla="*/ 89 w 228"/>
              <a:gd name="T65" fmla="*/ 196 h 228"/>
              <a:gd name="T66" fmla="*/ 94 w 228"/>
              <a:gd name="T67" fmla="*/ 223 h 228"/>
              <a:gd name="T68" fmla="*/ 100 w 228"/>
              <a:gd name="T69" fmla="*/ 228 h 228"/>
              <a:gd name="T70" fmla="*/ 127 w 228"/>
              <a:gd name="T71" fmla="*/ 228 h 228"/>
              <a:gd name="T72" fmla="*/ 133 w 228"/>
              <a:gd name="T73" fmla="*/ 223 h 228"/>
              <a:gd name="T74" fmla="*/ 138 w 228"/>
              <a:gd name="T75" fmla="*/ 196 h 228"/>
              <a:gd name="T76" fmla="*/ 154 w 228"/>
              <a:gd name="T77" fmla="*/ 190 h 228"/>
              <a:gd name="T78" fmla="*/ 177 w 228"/>
              <a:gd name="T79" fmla="*/ 205 h 228"/>
              <a:gd name="T80" fmla="*/ 185 w 228"/>
              <a:gd name="T81" fmla="*/ 205 h 228"/>
              <a:gd name="T82" fmla="*/ 204 w 228"/>
              <a:gd name="T83" fmla="*/ 185 h 228"/>
              <a:gd name="T84" fmla="*/ 205 w 228"/>
              <a:gd name="T85" fmla="*/ 178 h 228"/>
              <a:gd name="T86" fmla="*/ 189 w 228"/>
              <a:gd name="T87" fmla="*/ 155 h 228"/>
              <a:gd name="T88" fmla="*/ 196 w 228"/>
              <a:gd name="T89" fmla="*/ 139 h 228"/>
              <a:gd name="T90" fmla="*/ 223 w 228"/>
              <a:gd name="T91" fmla="*/ 134 h 228"/>
              <a:gd name="T92" fmla="*/ 228 w 228"/>
              <a:gd name="T93" fmla="*/ 128 h 228"/>
              <a:gd name="T94" fmla="*/ 228 w 228"/>
              <a:gd name="T95" fmla="*/ 100 h 228"/>
              <a:gd name="T96" fmla="*/ 223 w 228"/>
              <a:gd name="T97" fmla="*/ 95 h 228"/>
              <a:gd name="T98" fmla="*/ 114 w 228"/>
              <a:gd name="T99" fmla="*/ 149 h 228"/>
              <a:gd name="T100" fmla="*/ 79 w 228"/>
              <a:gd name="T101" fmla="*/ 114 h 228"/>
              <a:gd name="T102" fmla="*/ 114 w 228"/>
              <a:gd name="T103" fmla="*/ 79 h 228"/>
              <a:gd name="T104" fmla="*/ 149 w 228"/>
              <a:gd name="T105" fmla="*/ 114 h 228"/>
              <a:gd name="T106" fmla="*/ 114 w 228"/>
              <a:gd name="T107" fmla="*/ 149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28" h="228">
                <a:moveTo>
                  <a:pt x="223" y="95"/>
                </a:moveTo>
                <a:cubicBezTo>
                  <a:pt x="196" y="90"/>
                  <a:pt x="196" y="90"/>
                  <a:pt x="196" y="90"/>
                </a:cubicBezTo>
                <a:cubicBezTo>
                  <a:pt x="194" y="84"/>
                  <a:pt x="192" y="79"/>
                  <a:pt x="189" y="74"/>
                </a:cubicBezTo>
                <a:cubicBezTo>
                  <a:pt x="205" y="50"/>
                  <a:pt x="205" y="50"/>
                  <a:pt x="205" y="50"/>
                </a:cubicBezTo>
                <a:cubicBezTo>
                  <a:pt x="207" y="48"/>
                  <a:pt x="206" y="45"/>
                  <a:pt x="205" y="43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183" y="22"/>
                  <a:pt x="180" y="21"/>
                  <a:pt x="178" y="23"/>
                </a:cubicBezTo>
                <a:cubicBezTo>
                  <a:pt x="155" y="39"/>
                  <a:pt x="155" y="39"/>
                  <a:pt x="155" y="39"/>
                </a:cubicBezTo>
                <a:cubicBezTo>
                  <a:pt x="149" y="36"/>
                  <a:pt x="144" y="34"/>
                  <a:pt x="138" y="32"/>
                </a:cubicBezTo>
                <a:cubicBezTo>
                  <a:pt x="133" y="5"/>
                  <a:pt x="133" y="5"/>
                  <a:pt x="133" y="5"/>
                </a:cubicBezTo>
                <a:cubicBezTo>
                  <a:pt x="133" y="2"/>
                  <a:pt x="130" y="0"/>
                  <a:pt x="127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97" y="0"/>
                  <a:pt x="95" y="2"/>
                  <a:pt x="94" y="5"/>
                </a:cubicBezTo>
                <a:cubicBezTo>
                  <a:pt x="89" y="32"/>
                  <a:pt x="89" y="32"/>
                  <a:pt x="89" y="32"/>
                </a:cubicBezTo>
                <a:cubicBezTo>
                  <a:pt x="83" y="34"/>
                  <a:pt x="78" y="36"/>
                  <a:pt x="73" y="39"/>
                </a:cubicBezTo>
                <a:cubicBezTo>
                  <a:pt x="50" y="23"/>
                  <a:pt x="50" y="23"/>
                  <a:pt x="50" y="23"/>
                </a:cubicBezTo>
                <a:cubicBezTo>
                  <a:pt x="48" y="22"/>
                  <a:pt x="45" y="22"/>
                  <a:pt x="43" y="24"/>
                </a:cubicBezTo>
                <a:cubicBezTo>
                  <a:pt x="23" y="43"/>
                  <a:pt x="23" y="43"/>
                  <a:pt x="23" y="43"/>
                </a:cubicBezTo>
                <a:cubicBezTo>
                  <a:pt x="22" y="45"/>
                  <a:pt x="21" y="49"/>
                  <a:pt x="23" y="51"/>
                </a:cubicBezTo>
                <a:cubicBezTo>
                  <a:pt x="39" y="74"/>
                  <a:pt x="39" y="74"/>
                  <a:pt x="39" y="74"/>
                </a:cubicBezTo>
                <a:cubicBezTo>
                  <a:pt x="36" y="79"/>
                  <a:pt x="34" y="84"/>
                  <a:pt x="32" y="90"/>
                </a:cubicBezTo>
                <a:cubicBezTo>
                  <a:pt x="5" y="95"/>
                  <a:pt x="5" y="95"/>
                  <a:pt x="5" y="95"/>
                </a:cubicBezTo>
                <a:cubicBezTo>
                  <a:pt x="2" y="95"/>
                  <a:pt x="0" y="98"/>
                  <a:pt x="0" y="100"/>
                </a:cubicBezTo>
                <a:cubicBezTo>
                  <a:pt x="0" y="128"/>
                  <a:pt x="0" y="128"/>
                  <a:pt x="0" y="128"/>
                </a:cubicBezTo>
                <a:cubicBezTo>
                  <a:pt x="0" y="131"/>
                  <a:pt x="2" y="133"/>
                  <a:pt x="5" y="134"/>
                </a:cubicBezTo>
                <a:cubicBezTo>
                  <a:pt x="32" y="139"/>
                  <a:pt x="32" y="139"/>
                  <a:pt x="32" y="139"/>
                </a:cubicBezTo>
                <a:cubicBezTo>
                  <a:pt x="34" y="144"/>
                  <a:pt x="36" y="150"/>
                  <a:pt x="39" y="155"/>
                </a:cubicBezTo>
                <a:cubicBezTo>
                  <a:pt x="23" y="178"/>
                  <a:pt x="23" y="178"/>
                  <a:pt x="23" y="178"/>
                </a:cubicBezTo>
                <a:cubicBezTo>
                  <a:pt x="22" y="180"/>
                  <a:pt x="22" y="183"/>
                  <a:pt x="24" y="185"/>
                </a:cubicBezTo>
                <a:cubicBezTo>
                  <a:pt x="43" y="204"/>
                  <a:pt x="43" y="204"/>
                  <a:pt x="43" y="204"/>
                </a:cubicBezTo>
                <a:cubicBezTo>
                  <a:pt x="45" y="206"/>
                  <a:pt x="48" y="207"/>
                  <a:pt x="51" y="205"/>
                </a:cubicBezTo>
                <a:cubicBezTo>
                  <a:pt x="73" y="189"/>
                  <a:pt x="73" y="189"/>
                  <a:pt x="73" y="189"/>
                </a:cubicBezTo>
                <a:cubicBezTo>
                  <a:pt x="78" y="192"/>
                  <a:pt x="84" y="194"/>
                  <a:pt x="89" y="196"/>
                </a:cubicBezTo>
                <a:cubicBezTo>
                  <a:pt x="94" y="223"/>
                  <a:pt x="94" y="223"/>
                  <a:pt x="94" y="223"/>
                </a:cubicBezTo>
                <a:cubicBezTo>
                  <a:pt x="95" y="226"/>
                  <a:pt x="97" y="228"/>
                  <a:pt x="100" y="228"/>
                </a:cubicBezTo>
                <a:cubicBezTo>
                  <a:pt x="127" y="228"/>
                  <a:pt x="127" y="228"/>
                  <a:pt x="127" y="228"/>
                </a:cubicBezTo>
                <a:cubicBezTo>
                  <a:pt x="130" y="228"/>
                  <a:pt x="133" y="226"/>
                  <a:pt x="133" y="223"/>
                </a:cubicBezTo>
                <a:cubicBezTo>
                  <a:pt x="138" y="196"/>
                  <a:pt x="138" y="196"/>
                  <a:pt x="138" y="196"/>
                </a:cubicBezTo>
                <a:cubicBezTo>
                  <a:pt x="144" y="194"/>
                  <a:pt x="149" y="192"/>
                  <a:pt x="154" y="190"/>
                </a:cubicBezTo>
                <a:cubicBezTo>
                  <a:pt x="177" y="205"/>
                  <a:pt x="177" y="205"/>
                  <a:pt x="177" y="205"/>
                </a:cubicBezTo>
                <a:cubicBezTo>
                  <a:pt x="180" y="207"/>
                  <a:pt x="183" y="207"/>
                  <a:pt x="185" y="205"/>
                </a:cubicBezTo>
                <a:cubicBezTo>
                  <a:pt x="204" y="185"/>
                  <a:pt x="204" y="185"/>
                  <a:pt x="204" y="185"/>
                </a:cubicBezTo>
                <a:cubicBezTo>
                  <a:pt x="206" y="183"/>
                  <a:pt x="206" y="180"/>
                  <a:pt x="205" y="178"/>
                </a:cubicBezTo>
                <a:cubicBezTo>
                  <a:pt x="189" y="155"/>
                  <a:pt x="189" y="155"/>
                  <a:pt x="189" y="155"/>
                </a:cubicBezTo>
                <a:cubicBezTo>
                  <a:pt x="192" y="150"/>
                  <a:pt x="194" y="144"/>
                  <a:pt x="196" y="139"/>
                </a:cubicBezTo>
                <a:cubicBezTo>
                  <a:pt x="223" y="134"/>
                  <a:pt x="223" y="134"/>
                  <a:pt x="223" y="134"/>
                </a:cubicBezTo>
                <a:cubicBezTo>
                  <a:pt x="226" y="133"/>
                  <a:pt x="228" y="131"/>
                  <a:pt x="228" y="128"/>
                </a:cubicBezTo>
                <a:cubicBezTo>
                  <a:pt x="228" y="100"/>
                  <a:pt x="228" y="100"/>
                  <a:pt x="228" y="100"/>
                </a:cubicBezTo>
                <a:cubicBezTo>
                  <a:pt x="228" y="98"/>
                  <a:pt x="226" y="95"/>
                  <a:pt x="223" y="95"/>
                </a:cubicBezTo>
                <a:close/>
                <a:moveTo>
                  <a:pt x="114" y="149"/>
                </a:moveTo>
                <a:cubicBezTo>
                  <a:pt x="95" y="149"/>
                  <a:pt x="79" y="133"/>
                  <a:pt x="79" y="114"/>
                </a:cubicBezTo>
                <a:cubicBezTo>
                  <a:pt x="79" y="95"/>
                  <a:pt x="95" y="79"/>
                  <a:pt x="114" y="79"/>
                </a:cubicBezTo>
                <a:cubicBezTo>
                  <a:pt x="133" y="79"/>
                  <a:pt x="149" y="95"/>
                  <a:pt x="149" y="114"/>
                </a:cubicBezTo>
                <a:cubicBezTo>
                  <a:pt x="149" y="133"/>
                  <a:pt x="133" y="149"/>
                  <a:pt x="114" y="1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1" name="ïṣḻiḋé"/>
          <p:cNvSpPr/>
          <p:nvPr/>
        </p:nvSpPr>
        <p:spPr bwMode="auto">
          <a:xfrm>
            <a:off x="7853020" y="5003039"/>
            <a:ext cx="570178" cy="570178"/>
          </a:xfrm>
          <a:custGeom>
            <a:avLst/>
            <a:gdLst>
              <a:gd name="T0" fmla="*/ 130 w 236"/>
              <a:gd name="T1" fmla="*/ 1 h 236"/>
              <a:gd name="T2" fmla="*/ 118 w 236"/>
              <a:gd name="T3" fmla="*/ 0 h 236"/>
              <a:gd name="T4" fmla="*/ 30 w 236"/>
              <a:gd name="T5" fmla="*/ 40 h 236"/>
              <a:gd name="T6" fmla="*/ 68 w 236"/>
              <a:gd name="T7" fmla="*/ 105 h 236"/>
              <a:gd name="T8" fmla="*/ 130 w 236"/>
              <a:gd name="T9" fmla="*/ 1 h 236"/>
              <a:gd name="T10" fmla="*/ 20 w 236"/>
              <a:gd name="T11" fmla="*/ 52 h 236"/>
              <a:gd name="T12" fmla="*/ 0 w 236"/>
              <a:gd name="T13" fmla="*/ 118 h 236"/>
              <a:gd name="T14" fmla="*/ 5 w 236"/>
              <a:gd name="T15" fmla="*/ 153 h 236"/>
              <a:gd name="T16" fmla="*/ 81 w 236"/>
              <a:gd name="T17" fmla="*/ 153 h 236"/>
              <a:gd name="T18" fmla="*/ 20 w 236"/>
              <a:gd name="T19" fmla="*/ 52 h 236"/>
              <a:gd name="T20" fmla="*/ 225 w 236"/>
              <a:gd name="T21" fmla="*/ 68 h 236"/>
              <a:gd name="T22" fmla="*/ 145 w 236"/>
              <a:gd name="T23" fmla="*/ 3 h 236"/>
              <a:gd name="T24" fmla="*/ 106 w 236"/>
              <a:gd name="T25" fmla="*/ 68 h 236"/>
              <a:gd name="T26" fmla="*/ 225 w 236"/>
              <a:gd name="T27" fmla="*/ 68 h 236"/>
              <a:gd name="T28" fmla="*/ 130 w 236"/>
              <a:gd name="T29" fmla="*/ 167 h 236"/>
              <a:gd name="T30" fmla="*/ 11 w 236"/>
              <a:gd name="T31" fmla="*/ 167 h 236"/>
              <a:gd name="T32" fmla="*/ 96 w 236"/>
              <a:gd name="T33" fmla="*/ 234 h 236"/>
              <a:gd name="T34" fmla="*/ 93 w 236"/>
              <a:gd name="T35" fmla="*/ 232 h 236"/>
              <a:gd name="T36" fmla="*/ 130 w 236"/>
              <a:gd name="T37" fmla="*/ 167 h 236"/>
              <a:gd name="T38" fmla="*/ 230 w 236"/>
              <a:gd name="T39" fmla="*/ 82 h 236"/>
              <a:gd name="T40" fmla="*/ 155 w 236"/>
              <a:gd name="T41" fmla="*/ 82 h 236"/>
              <a:gd name="T42" fmla="*/ 215 w 236"/>
              <a:gd name="T43" fmla="*/ 186 h 236"/>
              <a:gd name="T44" fmla="*/ 236 w 236"/>
              <a:gd name="T45" fmla="*/ 118 h 236"/>
              <a:gd name="T46" fmla="*/ 230 w 236"/>
              <a:gd name="T47" fmla="*/ 82 h 236"/>
              <a:gd name="T48" fmla="*/ 108 w 236"/>
              <a:gd name="T49" fmla="*/ 236 h 236"/>
              <a:gd name="T50" fmla="*/ 118 w 236"/>
              <a:gd name="T51" fmla="*/ 236 h 236"/>
              <a:gd name="T52" fmla="*/ 205 w 236"/>
              <a:gd name="T53" fmla="*/ 198 h 236"/>
              <a:gd name="T54" fmla="*/ 167 w 236"/>
              <a:gd name="T55" fmla="*/ 132 h 236"/>
              <a:gd name="T56" fmla="*/ 108 w 236"/>
              <a:gd name="T57" fmla="*/ 236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36" h="236">
                <a:moveTo>
                  <a:pt x="130" y="1"/>
                </a:moveTo>
                <a:cubicBezTo>
                  <a:pt x="126" y="0"/>
                  <a:pt x="122" y="0"/>
                  <a:pt x="118" y="0"/>
                </a:cubicBezTo>
                <a:cubicBezTo>
                  <a:pt x="83" y="0"/>
                  <a:pt x="51" y="16"/>
                  <a:pt x="30" y="40"/>
                </a:cubicBezTo>
                <a:cubicBezTo>
                  <a:pt x="68" y="105"/>
                  <a:pt x="68" y="105"/>
                  <a:pt x="68" y="105"/>
                </a:cubicBezTo>
                <a:lnTo>
                  <a:pt x="130" y="1"/>
                </a:lnTo>
                <a:close/>
                <a:moveTo>
                  <a:pt x="20" y="52"/>
                </a:moveTo>
                <a:cubicBezTo>
                  <a:pt x="7" y="71"/>
                  <a:pt x="0" y="94"/>
                  <a:pt x="0" y="118"/>
                </a:cubicBezTo>
                <a:cubicBezTo>
                  <a:pt x="0" y="130"/>
                  <a:pt x="2" y="142"/>
                  <a:pt x="5" y="153"/>
                </a:cubicBezTo>
                <a:cubicBezTo>
                  <a:pt x="81" y="153"/>
                  <a:pt x="81" y="153"/>
                  <a:pt x="81" y="153"/>
                </a:cubicBezTo>
                <a:lnTo>
                  <a:pt x="20" y="52"/>
                </a:lnTo>
                <a:close/>
                <a:moveTo>
                  <a:pt x="225" y="68"/>
                </a:moveTo>
                <a:cubicBezTo>
                  <a:pt x="210" y="36"/>
                  <a:pt x="180" y="11"/>
                  <a:pt x="145" y="3"/>
                </a:cubicBezTo>
                <a:cubicBezTo>
                  <a:pt x="106" y="68"/>
                  <a:pt x="106" y="68"/>
                  <a:pt x="106" y="68"/>
                </a:cubicBezTo>
                <a:lnTo>
                  <a:pt x="225" y="68"/>
                </a:lnTo>
                <a:close/>
                <a:moveTo>
                  <a:pt x="130" y="167"/>
                </a:moveTo>
                <a:cubicBezTo>
                  <a:pt x="11" y="167"/>
                  <a:pt x="11" y="167"/>
                  <a:pt x="11" y="167"/>
                </a:cubicBezTo>
                <a:cubicBezTo>
                  <a:pt x="26" y="201"/>
                  <a:pt x="58" y="227"/>
                  <a:pt x="96" y="234"/>
                </a:cubicBezTo>
                <a:cubicBezTo>
                  <a:pt x="93" y="232"/>
                  <a:pt x="93" y="232"/>
                  <a:pt x="93" y="232"/>
                </a:cubicBezTo>
                <a:lnTo>
                  <a:pt x="130" y="167"/>
                </a:lnTo>
                <a:close/>
                <a:moveTo>
                  <a:pt x="230" y="82"/>
                </a:moveTo>
                <a:cubicBezTo>
                  <a:pt x="155" y="82"/>
                  <a:pt x="155" y="82"/>
                  <a:pt x="155" y="82"/>
                </a:cubicBezTo>
                <a:cubicBezTo>
                  <a:pt x="215" y="186"/>
                  <a:pt x="215" y="186"/>
                  <a:pt x="215" y="186"/>
                </a:cubicBezTo>
                <a:cubicBezTo>
                  <a:pt x="228" y="167"/>
                  <a:pt x="236" y="143"/>
                  <a:pt x="236" y="118"/>
                </a:cubicBezTo>
                <a:cubicBezTo>
                  <a:pt x="236" y="106"/>
                  <a:pt x="234" y="94"/>
                  <a:pt x="230" y="82"/>
                </a:cubicBezTo>
                <a:close/>
                <a:moveTo>
                  <a:pt x="108" y="236"/>
                </a:moveTo>
                <a:cubicBezTo>
                  <a:pt x="111" y="236"/>
                  <a:pt x="115" y="236"/>
                  <a:pt x="118" y="236"/>
                </a:cubicBezTo>
                <a:cubicBezTo>
                  <a:pt x="152" y="236"/>
                  <a:pt x="183" y="221"/>
                  <a:pt x="205" y="198"/>
                </a:cubicBezTo>
                <a:cubicBezTo>
                  <a:pt x="167" y="132"/>
                  <a:pt x="167" y="132"/>
                  <a:pt x="167" y="132"/>
                </a:cubicBezTo>
                <a:lnTo>
                  <a:pt x="108" y="2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2" name="îṣļîďê"/>
          <p:cNvSpPr/>
          <p:nvPr/>
        </p:nvSpPr>
        <p:spPr bwMode="auto">
          <a:xfrm>
            <a:off x="9808934" y="5033019"/>
            <a:ext cx="510218" cy="510218"/>
          </a:xfrm>
          <a:custGeom>
            <a:avLst/>
            <a:gdLst>
              <a:gd name="T0" fmla="*/ 182 w 236"/>
              <a:gd name="T1" fmla="*/ 109 h 236"/>
              <a:gd name="T2" fmla="*/ 157 w 236"/>
              <a:gd name="T3" fmla="*/ 103 h 236"/>
              <a:gd name="T4" fmla="*/ 134 w 236"/>
              <a:gd name="T5" fmla="*/ 102 h 236"/>
              <a:gd name="T6" fmla="*/ 120 w 236"/>
              <a:gd name="T7" fmla="*/ 114 h 236"/>
              <a:gd name="T8" fmla="*/ 118 w 236"/>
              <a:gd name="T9" fmla="*/ 129 h 236"/>
              <a:gd name="T10" fmla="*/ 122 w 236"/>
              <a:gd name="T11" fmla="*/ 141 h 236"/>
              <a:gd name="T12" fmla="*/ 135 w 236"/>
              <a:gd name="T13" fmla="*/ 156 h 236"/>
              <a:gd name="T14" fmla="*/ 139 w 236"/>
              <a:gd name="T15" fmla="*/ 185 h 236"/>
              <a:gd name="T16" fmla="*/ 152 w 236"/>
              <a:gd name="T17" fmla="*/ 198 h 236"/>
              <a:gd name="T18" fmla="*/ 169 w 236"/>
              <a:gd name="T19" fmla="*/ 180 h 236"/>
              <a:gd name="T20" fmla="*/ 187 w 236"/>
              <a:gd name="T21" fmla="*/ 150 h 236"/>
              <a:gd name="T22" fmla="*/ 200 w 236"/>
              <a:gd name="T23" fmla="*/ 122 h 236"/>
              <a:gd name="T24" fmla="*/ 182 w 236"/>
              <a:gd name="T25" fmla="*/ 109 h 236"/>
              <a:gd name="T26" fmla="*/ 118 w 236"/>
              <a:gd name="T27" fmla="*/ 0 h 236"/>
              <a:gd name="T28" fmla="*/ 0 w 236"/>
              <a:gd name="T29" fmla="*/ 118 h 236"/>
              <a:gd name="T30" fmla="*/ 118 w 236"/>
              <a:gd name="T31" fmla="*/ 236 h 236"/>
              <a:gd name="T32" fmla="*/ 236 w 236"/>
              <a:gd name="T33" fmla="*/ 118 h 236"/>
              <a:gd name="T34" fmla="*/ 118 w 236"/>
              <a:gd name="T35" fmla="*/ 0 h 236"/>
              <a:gd name="T36" fmla="*/ 126 w 236"/>
              <a:gd name="T37" fmla="*/ 212 h 236"/>
              <a:gd name="T38" fmla="*/ 128 w 236"/>
              <a:gd name="T39" fmla="*/ 208 h 236"/>
              <a:gd name="T40" fmla="*/ 125 w 236"/>
              <a:gd name="T41" fmla="*/ 186 h 236"/>
              <a:gd name="T42" fmla="*/ 105 w 236"/>
              <a:gd name="T43" fmla="*/ 186 h 236"/>
              <a:gd name="T44" fmla="*/ 98 w 236"/>
              <a:gd name="T45" fmla="*/ 207 h 236"/>
              <a:gd name="T46" fmla="*/ 102 w 236"/>
              <a:gd name="T47" fmla="*/ 211 h 236"/>
              <a:gd name="T48" fmla="*/ 34 w 236"/>
              <a:gd name="T49" fmla="*/ 161 h 236"/>
              <a:gd name="T50" fmla="*/ 44 w 236"/>
              <a:gd name="T51" fmla="*/ 157 h 236"/>
              <a:gd name="T52" fmla="*/ 44 w 236"/>
              <a:gd name="T53" fmla="*/ 157 h 236"/>
              <a:gd name="T54" fmla="*/ 81 w 236"/>
              <a:gd name="T55" fmla="*/ 142 h 236"/>
              <a:gd name="T56" fmla="*/ 81 w 236"/>
              <a:gd name="T57" fmla="*/ 118 h 236"/>
              <a:gd name="T58" fmla="*/ 55 w 236"/>
              <a:gd name="T59" fmla="*/ 94 h 236"/>
              <a:gd name="T60" fmla="*/ 28 w 236"/>
              <a:gd name="T61" fmla="*/ 90 h 236"/>
              <a:gd name="T62" fmla="*/ 84 w 236"/>
              <a:gd name="T63" fmla="*/ 30 h 236"/>
              <a:gd name="T64" fmla="*/ 84 w 236"/>
              <a:gd name="T65" fmla="*/ 31 h 236"/>
              <a:gd name="T66" fmla="*/ 102 w 236"/>
              <a:gd name="T67" fmla="*/ 56 h 236"/>
              <a:gd name="T68" fmla="*/ 120 w 236"/>
              <a:gd name="T69" fmla="*/ 79 h 236"/>
              <a:gd name="T70" fmla="*/ 131 w 236"/>
              <a:gd name="T71" fmla="*/ 97 h 236"/>
              <a:gd name="T72" fmla="*/ 146 w 236"/>
              <a:gd name="T73" fmla="*/ 88 h 236"/>
              <a:gd name="T74" fmla="*/ 177 w 236"/>
              <a:gd name="T75" fmla="*/ 66 h 236"/>
              <a:gd name="T76" fmla="*/ 190 w 236"/>
              <a:gd name="T77" fmla="*/ 57 h 236"/>
              <a:gd name="T78" fmla="*/ 212 w 236"/>
              <a:gd name="T79" fmla="*/ 118 h 236"/>
              <a:gd name="T80" fmla="*/ 126 w 236"/>
              <a:gd name="T81" fmla="*/ 212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36" h="236">
                <a:moveTo>
                  <a:pt x="182" y="109"/>
                </a:moveTo>
                <a:cubicBezTo>
                  <a:pt x="172" y="107"/>
                  <a:pt x="161" y="105"/>
                  <a:pt x="157" y="103"/>
                </a:cubicBezTo>
                <a:cubicBezTo>
                  <a:pt x="153" y="102"/>
                  <a:pt x="143" y="101"/>
                  <a:pt x="134" y="102"/>
                </a:cubicBezTo>
                <a:cubicBezTo>
                  <a:pt x="125" y="103"/>
                  <a:pt x="119" y="109"/>
                  <a:pt x="120" y="114"/>
                </a:cubicBezTo>
                <a:cubicBezTo>
                  <a:pt x="121" y="119"/>
                  <a:pt x="120" y="126"/>
                  <a:pt x="118" y="129"/>
                </a:cubicBezTo>
                <a:cubicBezTo>
                  <a:pt x="117" y="132"/>
                  <a:pt x="118" y="138"/>
                  <a:pt x="122" y="141"/>
                </a:cubicBezTo>
                <a:cubicBezTo>
                  <a:pt x="127" y="144"/>
                  <a:pt x="132" y="151"/>
                  <a:pt x="135" y="156"/>
                </a:cubicBezTo>
                <a:cubicBezTo>
                  <a:pt x="138" y="162"/>
                  <a:pt x="140" y="175"/>
                  <a:pt x="139" y="185"/>
                </a:cubicBezTo>
                <a:cubicBezTo>
                  <a:pt x="139" y="195"/>
                  <a:pt x="145" y="201"/>
                  <a:pt x="152" y="198"/>
                </a:cubicBezTo>
                <a:cubicBezTo>
                  <a:pt x="160" y="195"/>
                  <a:pt x="167" y="187"/>
                  <a:pt x="169" y="180"/>
                </a:cubicBezTo>
                <a:cubicBezTo>
                  <a:pt x="171" y="174"/>
                  <a:pt x="179" y="160"/>
                  <a:pt x="187" y="150"/>
                </a:cubicBezTo>
                <a:cubicBezTo>
                  <a:pt x="195" y="140"/>
                  <a:pt x="201" y="127"/>
                  <a:pt x="200" y="122"/>
                </a:cubicBezTo>
                <a:cubicBezTo>
                  <a:pt x="200" y="116"/>
                  <a:pt x="191" y="111"/>
                  <a:pt x="182" y="109"/>
                </a:cubicBezTo>
                <a:close/>
                <a:moveTo>
                  <a:pt x="118" y="0"/>
                </a:moveTo>
                <a:cubicBezTo>
                  <a:pt x="53" y="0"/>
                  <a:pt x="0" y="53"/>
                  <a:pt x="0" y="118"/>
                </a:cubicBezTo>
                <a:cubicBezTo>
                  <a:pt x="0" y="183"/>
                  <a:pt x="53" y="236"/>
                  <a:pt x="118" y="236"/>
                </a:cubicBezTo>
                <a:cubicBezTo>
                  <a:pt x="183" y="236"/>
                  <a:pt x="236" y="183"/>
                  <a:pt x="236" y="118"/>
                </a:cubicBezTo>
                <a:cubicBezTo>
                  <a:pt x="236" y="53"/>
                  <a:pt x="183" y="0"/>
                  <a:pt x="118" y="0"/>
                </a:cubicBezTo>
                <a:close/>
                <a:moveTo>
                  <a:pt x="126" y="212"/>
                </a:moveTo>
                <a:cubicBezTo>
                  <a:pt x="127" y="211"/>
                  <a:pt x="128" y="209"/>
                  <a:pt x="128" y="208"/>
                </a:cubicBezTo>
                <a:cubicBezTo>
                  <a:pt x="130" y="201"/>
                  <a:pt x="128" y="191"/>
                  <a:pt x="125" y="186"/>
                </a:cubicBezTo>
                <a:cubicBezTo>
                  <a:pt x="121" y="181"/>
                  <a:pt x="112" y="181"/>
                  <a:pt x="105" y="186"/>
                </a:cubicBezTo>
                <a:cubicBezTo>
                  <a:pt x="97" y="191"/>
                  <a:pt x="94" y="200"/>
                  <a:pt x="98" y="207"/>
                </a:cubicBezTo>
                <a:cubicBezTo>
                  <a:pt x="99" y="208"/>
                  <a:pt x="100" y="210"/>
                  <a:pt x="102" y="211"/>
                </a:cubicBezTo>
                <a:cubicBezTo>
                  <a:pt x="72" y="206"/>
                  <a:pt x="47" y="187"/>
                  <a:pt x="34" y="161"/>
                </a:cubicBezTo>
                <a:cubicBezTo>
                  <a:pt x="37" y="161"/>
                  <a:pt x="40" y="159"/>
                  <a:pt x="44" y="157"/>
                </a:cubicBezTo>
                <a:cubicBezTo>
                  <a:pt x="44" y="157"/>
                  <a:pt x="44" y="157"/>
                  <a:pt x="44" y="157"/>
                </a:cubicBezTo>
                <a:cubicBezTo>
                  <a:pt x="57" y="148"/>
                  <a:pt x="74" y="141"/>
                  <a:pt x="81" y="142"/>
                </a:cubicBezTo>
                <a:cubicBezTo>
                  <a:pt x="89" y="142"/>
                  <a:pt x="89" y="131"/>
                  <a:pt x="81" y="118"/>
                </a:cubicBezTo>
                <a:cubicBezTo>
                  <a:pt x="74" y="105"/>
                  <a:pt x="62" y="94"/>
                  <a:pt x="55" y="94"/>
                </a:cubicBezTo>
                <a:cubicBezTo>
                  <a:pt x="48" y="94"/>
                  <a:pt x="36" y="92"/>
                  <a:pt x="28" y="90"/>
                </a:cubicBezTo>
                <a:cubicBezTo>
                  <a:pt x="37" y="62"/>
                  <a:pt x="58" y="41"/>
                  <a:pt x="84" y="30"/>
                </a:cubicBezTo>
                <a:cubicBezTo>
                  <a:pt x="84" y="31"/>
                  <a:pt x="84" y="31"/>
                  <a:pt x="84" y="31"/>
                </a:cubicBezTo>
                <a:cubicBezTo>
                  <a:pt x="86" y="39"/>
                  <a:pt x="95" y="50"/>
                  <a:pt x="102" y="56"/>
                </a:cubicBezTo>
                <a:cubicBezTo>
                  <a:pt x="110" y="62"/>
                  <a:pt x="118" y="72"/>
                  <a:pt x="120" y="79"/>
                </a:cubicBezTo>
                <a:cubicBezTo>
                  <a:pt x="122" y="85"/>
                  <a:pt x="127" y="93"/>
                  <a:pt x="131" y="97"/>
                </a:cubicBezTo>
                <a:cubicBezTo>
                  <a:pt x="136" y="100"/>
                  <a:pt x="142" y="96"/>
                  <a:pt x="146" y="88"/>
                </a:cubicBezTo>
                <a:cubicBezTo>
                  <a:pt x="150" y="80"/>
                  <a:pt x="164" y="70"/>
                  <a:pt x="177" y="66"/>
                </a:cubicBezTo>
                <a:cubicBezTo>
                  <a:pt x="183" y="64"/>
                  <a:pt x="187" y="61"/>
                  <a:pt x="190" y="57"/>
                </a:cubicBezTo>
                <a:cubicBezTo>
                  <a:pt x="204" y="74"/>
                  <a:pt x="212" y="95"/>
                  <a:pt x="212" y="118"/>
                </a:cubicBezTo>
                <a:cubicBezTo>
                  <a:pt x="212" y="168"/>
                  <a:pt x="174" y="208"/>
                  <a:pt x="126" y="2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3" name="íṩ1îḓè"/>
          <p:cNvSpPr/>
          <p:nvPr/>
        </p:nvSpPr>
        <p:spPr>
          <a:xfrm>
            <a:off x="5531769" y="4274064"/>
            <a:ext cx="1360809" cy="42111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4" name="îṥľíďe"/>
          <p:cNvSpPr/>
          <p:nvPr/>
        </p:nvSpPr>
        <p:spPr>
          <a:xfrm>
            <a:off x="7457704" y="4274064"/>
            <a:ext cx="1360809" cy="42111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5" name="íšľïḓê"/>
          <p:cNvSpPr/>
          <p:nvPr/>
        </p:nvSpPr>
        <p:spPr>
          <a:xfrm>
            <a:off x="9383639" y="4274064"/>
            <a:ext cx="1360809" cy="42111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cxnSp>
        <p:nvCxnSpPr>
          <p:cNvPr id="20" name="直接连接符 19"/>
          <p:cNvCxnSpPr/>
          <p:nvPr/>
        </p:nvCxnSpPr>
        <p:spPr>
          <a:xfrm>
            <a:off x="963633" y="5136700"/>
            <a:ext cx="2442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îṩlíḍe"/>
          <p:cNvSpPr/>
          <p:nvPr/>
        </p:nvSpPr>
        <p:spPr bwMode="auto">
          <a:xfrm>
            <a:off x="903551" y="5143123"/>
            <a:ext cx="3936782" cy="65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When you copy &amp; paste, choose "keep text only" option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2" name="îsļiďè"/>
          <p:cNvSpPr txBox="1"/>
          <p:nvPr/>
        </p:nvSpPr>
        <p:spPr bwMode="auto">
          <a:xfrm>
            <a:off x="903551" y="4696662"/>
            <a:ext cx="3936782" cy="4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cxnSp>
        <p:nvCxnSpPr>
          <p:cNvPr id="39" name="直接连接符 38"/>
          <p:cNvCxnSpPr/>
          <p:nvPr/>
        </p:nvCxnSpPr>
        <p:spPr>
          <a:xfrm>
            <a:off x="960237" y="3753110"/>
            <a:ext cx="2442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îṩlíḍe"/>
          <p:cNvSpPr/>
          <p:nvPr/>
        </p:nvSpPr>
        <p:spPr bwMode="auto">
          <a:xfrm>
            <a:off x="900155" y="3759533"/>
            <a:ext cx="3936782" cy="65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When you copy &amp; paste, choose "keep text only" option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41" name="îsļiďè"/>
          <p:cNvSpPr txBox="1"/>
          <p:nvPr/>
        </p:nvSpPr>
        <p:spPr bwMode="auto">
          <a:xfrm>
            <a:off x="900155" y="3313072"/>
            <a:ext cx="3936782" cy="4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cxnSp>
        <p:nvCxnSpPr>
          <p:cNvPr id="51" name="直接连接符 50"/>
          <p:cNvCxnSpPr/>
          <p:nvPr/>
        </p:nvCxnSpPr>
        <p:spPr>
          <a:xfrm>
            <a:off x="974906" y="2222267"/>
            <a:ext cx="2442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îṩlíḍe"/>
          <p:cNvSpPr/>
          <p:nvPr/>
        </p:nvSpPr>
        <p:spPr bwMode="auto">
          <a:xfrm>
            <a:off x="914824" y="2228690"/>
            <a:ext cx="3936782" cy="65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When you copy &amp; paste, choose "keep text only" option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53" name="îsļiďè"/>
          <p:cNvSpPr txBox="1"/>
          <p:nvPr/>
        </p:nvSpPr>
        <p:spPr bwMode="auto">
          <a:xfrm>
            <a:off x="914824" y="1782229"/>
            <a:ext cx="3936782" cy="4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56" name="statistical-chart_64023"/>
          <p:cNvSpPr>
            <a:spLocks noChangeAspect="1"/>
          </p:cNvSpPr>
          <p:nvPr/>
        </p:nvSpPr>
        <p:spPr bwMode="auto">
          <a:xfrm>
            <a:off x="5824260" y="2675629"/>
            <a:ext cx="851961" cy="955748"/>
          </a:xfrm>
          <a:custGeom>
            <a:avLst/>
            <a:gdLst>
              <a:gd name="connsiteX0" fmla="*/ 16193 w 538132"/>
              <a:gd name="connsiteY0" fmla="*/ 302232 h 603687"/>
              <a:gd name="connsiteX1" fmla="*/ 132346 w 538132"/>
              <a:gd name="connsiteY1" fmla="*/ 302232 h 603687"/>
              <a:gd name="connsiteX2" fmla="*/ 148540 w 538132"/>
              <a:gd name="connsiteY2" fmla="*/ 318399 h 603687"/>
              <a:gd name="connsiteX3" fmla="*/ 148540 w 538132"/>
              <a:gd name="connsiteY3" fmla="*/ 587520 h 603687"/>
              <a:gd name="connsiteX4" fmla="*/ 132346 w 538132"/>
              <a:gd name="connsiteY4" fmla="*/ 603687 h 603687"/>
              <a:gd name="connsiteX5" fmla="*/ 16193 w 538132"/>
              <a:gd name="connsiteY5" fmla="*/ 603687 h 603687"/>
              <a:gd name="connsiteX6" fmla="*/ 0 w 538132"/>
              <a:gd name="connsiteY6" fmla="*/ 587520 h 603687"/>
              <a:gd name="connsiteX7" fmla="*/ 0 w 538132"/>
              <a:gd name="connsiteY7" fmla="*/ 318399 h 603687"/>
              <a:gd name="connsiteX8" fmla="*/ 16193 w 538132"/>
              <a:gd name="connsiteY8" fmla="*/ 302232 h 603687"/>
              <a:gd name="connsiteX9" fmla="*/ 405786 w 538132"/>
              <a:gd name="connsiteY9" fmla="*/ 186857 h 603687"/>
              <a:gd name="connsiteX10" fmla="*/ 521939 w 538132"/>
              <a:gd name="connsiteY10" fmla="*/ 186857 h 603687"/>
              <a:gd name="connsiteX11" fmla="*/ 538132 w 538132"/>
              <a:gd name="connsiteY11" fmla="*/ 203025 h 603687"/>
              <a:gd name="connsiteX12" fmla="*/ 538132 w 538132"/>
              <a:gd name="connsiteY12" fmla="*/ 587520 h 603687"/>
              <a:gd name="connsiteX13" fmla="*/ 521939 w 538132"/>
              <a:gd name="connsiteY13" fmla="*/ 603687 h 603687"/>
              <a:gd name="connsiteX14" fmla="*/ 405786 w 538132"/>
              <a:gd name="connsiteY14" fmla="*/ 603687 h 603687"/>
              <a:gd name="connsiteX15" fmla="*/ 389592 w 538132"/>
              <a:gd name="connsiteY15" fmla="*/ 587520 h 603687"/>
              <a:gd name="connsiteX16" fmla="*/ 389592 w 538132"/>
              <a:gd name="connsiteY16" fmla="*/ 203025 h 603687"/>
              <a:gd name="connsiteX17" fmla="*/ 405786 w 538132"/>
              <a:gd name="connsiteY17" fmla="*/ 186857 h 603687"/>
              <a:gd name="connsiteX18" fmla="*/ 211024 w 538132"/>
              <a:gd name="connsiteY18" fmla="*/ 0 h 603687"/>
              <a:gd name="connsiteX19" fmla="*/ 327177 w 538132"/>
              <a:gd name="connsiteY19" fmla="*/ 0 h 603687"/>
              <a:gd name="connsiteX20" fmla="*/ 343371 w 538132"/>
              <a:gd name="connsiteY20" fmla="*/ 16168 h 603687"/>
              <a:gd name="connsiteX21" fmla="*/ 343371 w 538132"/>
              <a:gd name="connsiteY21" fmla="*/ 587519 h 603687"/>
              <a:gd name="connsiteX22" fmla="*/ 327177 w 538132"/>
              <a:gd name="connsiteY22" fmla="*/ 603687 h 603687"/>
              <a:gd name="connsiteX23" fmla="*/ 211024 w 538132"/>
              <a:gd name="connsiteY23" fmla="*/ 603687 h 603687"/>
              <a:gd name="connsiteX24" fmla="*/ 194831 w 538132"/>
              <a:gd name="connsiteY24" fmla="*/ 587519 h 603687"/>
              <a:gd name="connsiteX25" fmla="*/ 194831 w 538132"/>
              <a:gd name="connsiteY25" fmla="*/ 16168 h 603687"/>
              <a:gd name="connsiteX26" fmla="*/ 211024 w 538132"/>
              <a:gd name="connsiteY26" fmla="*/ 0 h 60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38132" h="603687">
                <a:moveTo>
                  <a:pt x="16193" y="302232"/>
                </a:moveTo>
                <a:lnTo>
                  <a:pt x="132346" y="302232"/>
                </a:lnTo>
                <a:cubicBezTo>
                  <a:pt x="141235" y="302232"/>
                  <a:pt x="148540" y="309525"/>
                  <a:pt x="148540" y="318399"/>
                </a:cubicBezTo>
                <a:lnTo>
                  <a:pt x="148540" y="587520"/>
                </a:lnTo>
                <a:cubicBezTo>
                  <a:pt x="148540" y="596394"/>
                  <a:pt x="141235" y="603687"/>
                  <a:pt x="132346" y="603687"/>
                </a:cubicBezTo>
                <a:lnTo>
                  <a:pt x="16193" y="603687"/>
                </a:lnTo>
                <a:cubicBezTo>
                  <a:pt x="7305" y="603687"/>
                  <a:pt x="0" y="596394"/>
                  <a:pt x="0" y="587520"/>
                </a:cubicBezTo>
                <a:lnTo>
                  <a:pt x="0" y="318399"/>
                </a:lnTo>
                <a:cubicBezTo>
                  <a:pt x="0" y="309525"/>
                  <a:pt x="7305" y="302232"/>
                  <a:pt x="16193" y="302232"/>
                </a:cubicBezTo>
                <a:close/>
                <a:moveTo>
                  <a:pt x="405786" y="186857"/>
                </a:moveTo>
                <a:lnTo>
                  <a:pt x="521939" y="186857"/>
                </a:lnTo>
                <a:cubicBezTo>
                  <a:pt x="530827" y="186857"/>
                  <a:pt x="538132" y="194029"/>
                  <a:pt x="538132" y="203025"/>
                </a:cubicBezTo>
                <a:lnTo>
                  <a:pt x="538132" y="587520"/>
                </a:lnTo>
                <a:cubicBezTo>
                  <a:pt x="538132" y="596393"/>
                  <a:pt x="530827" y="603687"/>
                  <a:pt x="521939" y="603687"/>
                </a:cubicBezTo>
                <a:lnTo>
                  <a:pt x="405786" y="603687"/>
                </a:lnTo>
                <a:cubicBezTo>
                  <a:pt x="396897" y="603687"/>
                  <a:pt x="389592" y="596393"/>
                  <a:pt x="389592" y="587520"/>
                </a:cubicBezTo>
                <a:lnTo>
                  <a:pt x="389592" y="203025"/>
                </a:lnTo>
                <a:cubicBezTo>
                  <a:pt x="389592" y="194029"/>
                  <a:pt x="396897" y="186857"/>
                  <a:pt x="405786" y="186857"/>
                </a:cubicBezTo>
                <a:close/>
                <a:moveTo>
                  <a:pt x="211024" y="0"/>
                </a:moveTo>
                <a:lnTo>
                  <a:pt x="327177" y="0"/>
                </a:lnTo>
                <a:cubicBezTo>
                  <a:pt x="336066" y="0"/>
                  <a:pt x="343371" y="7294"/>
                  <a:pt x="343371" y="16168"/>
                </a:cubicBezTo>
                <a:lnTo>
                  <a:pt x="343371" y="587519"/>
                </a:lnTo>
                <a:cubicBezTo>
                  <a:pt x="343371" y="596393"/>
                  <a:pt x="336066" y="603687"/>
                  <a:pt x="327177" y="603687"/>
                </a:cubicBezTo>
                <a:lnTo>
                  <a:pt x="211024" y="603687"/>
                </a:lnTo>
                <a:cubicBezTo>
                  <a:pt x="202136" y="603687"/>
                  <a:pt x="194831" y="596393"/>
                  <a:pt x="194831" y="587519"/>
                </a:cubicBezTo>
                <a:lnTo>
                  <a:pt x="194831" y="16168"/>
                </a:lnTo>
                <a:cubicBezTo>
                  <a:pt x="194831" y="7294"/>
                  <a:pt x="202136" y="0"/>
                  <a:pt x="2110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57" name="statistical-chart_64023"/>
          <p:cNvSpPr>
            <a:spLocks noChangeAspect="1"/>
          </p:cNvSpPr>
          <p:nvPr/>
        </p:nvSpPr>
        <p:spPr bwMode="auto">
          <a:xfrm>
            <a:off x="7748568" y="2675629"/>
            <a:ext cx="851961" cy="955748"/>
          </a:xfrm>
          <a:custGeom>
            <a:avLst/>
            <a:gdLst>
              <a:gd name="connsiteX0" fmla="*/ 16193 w 538132"/>
              <a:gd name="connsiteY0" fmla="*/ 302232 h 603687"/>
              <a:gd name="connsiteX1" fmla="*/ 132346 w 538132"/>
              <a:gd name="connsiteY1" fmla="*/ 302232 h 603687"/>
              <a:gd name="connsiteX2" fmla="*/ 148540 w 538132"/>
              <a:gd name="connsiteY2" fmla="*/ 318399 h 603687"/>
              <a:gd name="connsiteX3" fmla="*/ 148540 w 538132"/>
              <a:gd name="connsiteY3" fmla="*/ 587520 h 603687"/>
              <a:gd name="connsiteX4" fmla="*/ 132346 w 538132"/>
              <a:gd name="connsiteY4" fmla="*/ 603687 h 603687"/>
              <a:gd name="connsiteX5" fmla="*/ 16193 w 538132"/>
              <a:gd name="connsiteY5" fmla="*/ 603687 h 603687"/>
              <a:gd name="connsiteX6" fmla="*/ 0 w 538132"/>
              <a:gd name="connsiteY6" fmla="*/ 587520 h 603687"/>
              <a:gd name="connsiteX7" fmla="*/ 0 w 538132"/>
              <a:gd name="connsiteY7" fmla="*/ 318399 h 603687"/>
              <a:gd name="connsiteX8" fmla="*/ 16193 w 538132"/>
              <a:gd name="connsiteY8" fmla="*/ 302232 h 603687"/>
              <a:gd name="connsiteX9" fmla="*/ 405786 w 538132"/>
              <a:gd name="connsiteY9" fmla="*/ 186857 h 603687"/>
              <a:gd name="connsiteX10" fmla="*/ 521939 w 538132"/>
              <a:gd name="connsiteY10" fmla="*/ 186857 h 603687"/>
              <a:gd name="connsiteX11" fmla="*/ 538132 w 538132"/>
              <a:gd name="connsiteY11" fmla="*/ 203025 h 603687"/>
              <a:gd name="connsiteX12" fmla="*/ 538132 w 538132"/>
              <a:gd name="connsiteY12" fmla="*/ 587520 h 603687"/>
              <a:gd name="connsiteX13" fmla="*/ 521939 w 538132"/>
              <a:gd name="connsiteY13" fmla="*/ 603687 h 603687"/>
              <a:gd name="connsiteX14" fmla="*/ 405786 w 538132"/>
              <a:gd name="connsiteY14" fmla="*/ 603687 h 603687"/>
              <a:gd name="connsiteX15" fmla="*/ 389592 w 538132"/>
              <a:gd name="connsiteY15" fmla="*/ 587520 h 603687"/>
              <a:gd name="connsiteX16" fmla="*/ 389592 w 538132"/>
              <a:gd name="connsiteY16" fmla="*/ 203025 h 603687"/>
              <a:gd name="connsiteX17" fmla="*/ 405786 w 538132"/>
              <a:gd name="connsiteY17" fmla="*/ 186857 h 603687"/>
              <a:gd name="connsiteX18" fmla="*/ 211024 w 538132"/>
              <a:gd name="connsiteY18" fmla="*/ 0 h 603687"/>
              <a:gd name="connsiteX19" fmla="*/ 327177 w 538132"/>
              <a:gd name="connsiteY19" fmla="*/ 0 h 603687"/>
              <a:gd name="connsiteX20" fmla="*/ 343371 w 538132"/>
              <a:gd name="connsiteY20" fmla="*/ 16168 h 603687"/>
              <a:gd name="connsiteX21" fmla="*/ 343371 w 538132"/>
              <a:gd name="connsiteY21" fmla="*/ 587519 h 603687"/>
              <a:gd name="connsiteX22" fmla="*/ 327177 w 538132"/>
              <a:gd name="connsiteY22" fmla="*/ 603687 h 603687"/>
              <a:gd name="connsiteX23" fmla="*/ 211024 w 538132"/>
              <a:gd name="connsiteY23" fmla="*/ 603687 h 603687"/>
              <a:gd name="connsiteX24" fmla="*/ 194831 w 538132"/>
              <a:gd name="connsiteY24" fmla="*/ 587519 h 603687"/>
              <a:gd name="connsiteX25" fmla="*/ 194831 w 538132"/>
              <a:gd name="connsiteY25" fmla="*/ 16168 h 603687"/>
              <a:gd name="connsiteX26" fmla="*/ 211024 w 538132"/>
              <a:gd name="connsiteY26" fmla="*/ 0 h 60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38132" h="603687">
                <a:moveTo>
                  <a:pt x="16193" y="302232"/>
                </a:moveTo>
                <a:lnTo>
                  <a:pt x="132346" y="302232"/>
                </a:lnTo>
                <a:cubicBezTo>
                  <a:pt x="141235" y="302232"/>
                  <a:pt x="148540" y="309525"/>
                  <a:pt x="148540" y="318399"/>
                </a:cubicBezTo>
                <a:lnTo>
                  <a:pt x="148540" y="587520"/>
                </a:lnTo>
                <a:cubicBezTo>
                  <a:pt x="148540" y="596394"/>
                  <a:pt x="141235" y="603687"/>
                  <a:pt x="132346" y="603687"/>
                </a:cubicBezTo>
                <a:lnTo>
                  <a:pt x="16193" y="603687"/>
                </a:lnTo>
                <a:cubicBezTo>
                  <a:pt x="7305" y="603687"/>
                  <a:pt x="0" y="596394"/>
                  <a:pt x="0" y="587520"/>
                </a:cubicBezTo>
                <a:lnTo>
                  <a:pt x="0" y="318399"/>
                </a:lnTo>
                <a:cubicBezTo>
                  <a:pt x="0" y="309525"/>
                  <a:pt x="7305" y="302232"/>
                  <a:pt x="16193" y="302232"/>
                </a:cubicBezTo>
                <a:close/>
                <a:moveTo>
                  <a:pt x="405786" y="186857"/>
                </a:moveTo>
                <a:lnTo>
                  <a:pt x="521939" y="186857"/>
                </a:lnTo>
                <a:cubicBezTo>
                  <a:pt x="530827" y="186857"/>
                  <a:pt x="538132" y="194029"/>
                  <a:pt x="538132" y="203025"/>
                </a:cubicBezTo>
                <a:lnTo>
                  <a:pt x="538132" y="587520"/>
                </a:lnTo>
                <a:cubicBezTo>
                  <a:pt x="538132" y="596393"/>
                  <a:pt x="530827" y="603687"/>
                  <a:pt x="521939" y="603687"/>
                </a:cubicBezTo>
                <a:lnTo>
                  <a:pt x="405786" y="603687"/>
                </a:lnTo>
                <a:cubicBezTo>
                  <a:pt x="396897" y="603687"/>
                  <a:pt x="389592" y="596393"/>
                  <a:pt x="389592" y="587520"/>
                </a:cubicBezTo>
                <a:lnTo>
                  <a:pt x="389592" y="203025"/>
                </a:lnTo>
                <a:cubicBezTo>
                  <a:pt x="389592" y="194029"/>
                  <a:pt x="396897" y="186857"/>
                  <a:pt x="405786" y="186857"/>
                </a:cubicBezTo>
                <a:close/>
                <a:moveTo>
                  <a:pt x="211024" y="0"/>
                </a:moveTo>
                <a:lnTo>
                  <a:pt x="327177" y="0"/>
                </a:lnTo>
                <a:cubicBezTo>
                  <a:pt x="336066" y="0"/>
                  <a:pt x="343371" y="7294"/>
                  <a:pt x="343371" y="16168"/>
                </a:cubicBezTo>
                <a:lnTo>
                  <a:pt x="343371" y="587519"/>
                </a:lnTo>
                <a:cubicBezTo>
                  <a:pt x="343371" y="596393"/>
                  <a:pt x="336066" y="603687"/>
                  <a:pt x="327177" y="603687"/>
                </a:cubicBezTo>
                <a:lnTo>
                  <a:pt x="211024" y="603687"/>
                </a:lnTo>
                <a:cubicBezTo>
                  <a:pt x="202136" y="603687"/>
                  <a:pt x="194831" y="596393"/>
                  <a:pt x="194831" y="587519"/>
                </a:cubicBezTo>
                <a:lnTo>
                  <a:pt x="194831" y="16168"/>
                </a:lnTo>
                <a:cubicBezTo>
                  <a:pt x="194831" y="7294"/>
                  <a:pt x="202136" y="0"/>
                  <a:pt x="2110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58" name="statistical-chart_64023"/>
          <p:cNvSpPr>
            <a:spLocks noChangeAspect="1"/>
          </p:cNvSpPr>
          <p:nvPr/>
        </p:nvSpPr>
        <p:spPr bwMode="auto">
          <a:xfrm>
            <a:off x="9674503" y="2675629"/>
            <a:ext cx="851961" cy="955748"/>
          </a:xfrm>
          <a:custGeom>
            <a:avLst/>
            <a:gdLst>
              <a:gd name="connsiteX0" fmla="*/ 16193 w 538132"/>
              <a:gd name="connsiteY0" fmla="*/ 302232 h 603687"/>
              <a:gd name="connsiteX1" fmla="*/ 132346 w 538132"/>
              <a:gd name="connsiteY1" fmla="*/ 302232 h 603687"/>
              <a:gd name="connsiteX2" fmla="*/ 148540 w 538132"/>
              <a:gd name="connsiteY2" fmla="*/ 318399 h 603687"/>
              <a:gd name="connsiteX3" fmla="*/ 148540 w 538132"/>
              <a:gd name="connsiteY3" fmla="*/ 587520 h 603687"/>
              <a:gd name="connsiteX4" fmla="*/ 132346 w 538132"/>
              <a:gd name="connsiteY4" fmla="*/ 603687 h 603687"/>
              <a:gd name="connsiteX5" fmla="*/ 16193 w 538132"/>
              <a:gd name="connsiteY5" fmla="*/ 603687 h 603687"/>
              <a:gd name="connsiteX6" fmla="*/ 0 w 538132"/>
              <a:gd name="connsiteY6" fmla="*/ 587520 h 603687"/>
              <a:gd name="connsiteX7" fmla="*/ 0 w 538132"/>
              <a:gd name="connsiteY7" fmla="*/ 318399 h 603687"/>
              <a:gd name="connsiteX8" fmla="*/ 16193 w 538132"/>
              <a:gd name="connsiteY8" fmla="*/ 302232 h 603687"/>
              <a:gd name="connsiteX9" fmla="*/ 405786 w 538132"/>
              <a:gd name="connsiteY9" fmla="*/ 186857 h 603687"/>
              <a:gd name="connsiteX10" fmla="*/ 521939 w 538132"/>
              <a:gd name="connsiteY10" fmla="*/ 186857 h 603687"/>
              <a:gd name="connsiteX11" fmla="*/ 538132 w 538132"/>
              <a:gd name="connsiteY11" fmla="*/ 203025 h 603687"/>
              <a:gd name="connsiteX12" fmla="*/ 538132 w 538132"/>
              <a:gd name="connsiteY12" fmla="*/ 587520 h 603687"/>
              <a:gd name="connsiteX13" fmla="*/ 521939 w 538132"/>
              <a:gd name="connsiteY13" fmla="*/ 603687 h 603687"/>
              <a:gd name="connsiteX14" fmla="*/ 405786 w 538132"/>
              <a:gd name="connsiteY14" fmla="*/ 603687 h 603687"/>
              <a:gd name="connsiteX15" fmla="*/ 389592 w 538132"/>
              <a:gd name="connsiteY15" fmla="*/ 587520 h 603687"/>
              <a:gd name="connsiteX16" fmla="*/ 389592 w 538132"/>
              <a:gd name="connsiteY16" fmla="*/ 203025 h 603687"/>
              <a:gd name="connsiteX17" fmla="*/ 405786 w 538132"/>
              <a:gd name="connsiteY17" fmla="*/ 186857 h 603687"/>
              <a:gd name="connsiteX18" fmla="*/ 211024 w 538132"/>
              <a:gd name="connsiteY18" fmla="*/ 0 h 603687"/>
              <a:gd name="connsiteX19" fmla="*/ 327177 w 538132"/>
              <a:gd name="connsiteY19" fmla="*/ 0 h 603687"/>
              <a:gd name="connsiteX20" fmla="*/ 343371 w 538132"/>
              <a:gd name="connsiteY20" fmla="*/ 16168 h 603687"/>
              <a:gd name="connsiteX21" fmla="*/ 343371 w 538132"/>
              <a:gd name="connsiteY21" fmla="*/ 587519 h 603687"/>
              <a:gd name="connsiteX22" fmla="*/ 327177 w 538132"/>
              <a:gd name="connsiteY22" fmla="*/ 603687 h 603687"/>
              <a:gd name="connsiteX23" fmla="*/ 211024 w 538132"/>
              <a:gd name="connsiteY23" fmla="*/ 603687 h 603687"/>
              <a:gd name="connsiteX24" fmla="*/ 194831 w 538132"/>
              <a:gd name="connsiteY24" fmla="*/ 587519 h 603687"/>
              <a:gd name="connsiteX25" fmla="*/ 194831 w 538132"/>
              <a:gd name="connsiteY25" fmla="*/ 16168 h 603687"/>
              <a:gd name="connsiteX26" fmla="*/ 211024 w 538132"/>
              <a:gd name="connsiteY26" fmla="*/ 0 h 60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38132" h="603687">
                <a:moveTo>
                  <a:pt x="16193" y="302232"/>
                </a:moveTo>
                <a:lnTo>
                  <a:pt x="132346" y="302232"/>
                </a:lnTo>
                <a:cubicBezTo>
                  <a:pt x="141235" y="302232"/>
                  <a:pt x="148540" y="309525"/>
                  <a:pt x="148540" y="318399"/>
                </a:cubicBezTo>
                <a:lnTo>
                  <a:pt x="148540" y="587520"/>
                </a:lnTo>
                <a:cubicBezTo>
                  <a:pt x="148540" y="596394"/>
                  <a:pt x="141235" y="603687"/>
                  <a:pt x="132346" y="603687"/>
                </a:cubicBezTo>
                <a:lnTo>
                  <a:pt x="16193" y="603687"/>
                </a:lnTo>
                <a:cubicBezTo>
                  <a:pt x="7305" y="603687"/>
                  <a:pt x="0" y="596394"/>
                  <a:pt x="0" y="587520"/>
                </a:cubicBezTo>
                <a:lnTo>
                  <a:pt x="0" y="318399"/>
                </a:lnTo>
                <a:cubicBezTo>
                  <a:pt x="0" y="309525"/>
                  <a:pt x="7305" y="302232"/>
                  <a:pt x="16193" y="302232"/>
                </a:cubicBezTo>
                <a:close/>
                <a:moveTo>
                  <a:pt x="405786" y="186857"/>
                </a:moveTo>
                <a:lnTo>
                  <a:pt x="521939" y="186857"/>
                </a:lnTo>
                <a:cubicBezTo>
                  <a:pt x="530827" y="186857"/>
                  <a:pt x="538132" y="194029"/>
                  <a:pt x="538132" y="203025"/>
                </a:cubicBezTo>
                <a:lnTo>
                  <a:pt x="538132" y="587520"/>
                </a:lnTo>
                <a:cubicBezTo>
                  <a:pt x="538132" y="596393"/>
                  <a:pt x="530827" y="603687"/>
                  <a:pt x="521939" y="603687"/>
                </a:cubicBezTo>
                <a:lnTo>
                  <a:pt x="405786" y="603687"/>
                </a:lnTo>
                <a:cubicBezTo>
                  <a:pt x="396897" y="603687"/>
                  <a:pt x="389592" y="596393"/>
                  <a:pt x="389592" y="587520"/>
                </a:cubicBezTo>
                <a:lnTo>
                  <a:pt x="389592" y="203025"/>
                </a:lnTo>
                <a:cubicBezTo>
                  <a:pt x="389592" y="194029"/>
                  <a:pt x="396897" y="186857"/>
                  <a:pt x="405786" y="186857"/>
                </a:cubicBezTo>
                <a:close/>
                <a:moveTo>
                  <a:pt x="211024" y="0"/>
                </a:moveTo>
                <a:lnTo>
                  <a:pt x="327177" y="0"/>
                </a:lnTo>
                <a:cubicBezTo>
                  <a:pt x="336066" y="0"/>
                  <a:pt x="343371" y="7294"/>
                  <a:pt x="343371" y="16168"/>
                </a:cubicBezTo>
                <a:lnTo>
                  <a:pt x="343371" y="587519"/>
                </a:lnTo>
                <a:cubicBezTo>
                  <a:pt x="343371" y="596393"/>
                  <a:pt x="336066" y="603687"/>
                  <a:pt x="327177" y="603687"/>
                </a:cubicBezTo>
                <a:lnTo>
                  <a:pt x="211024" y="603687"/>
                </a:lnTo>
                <a:cubicBezTo>
                  <a:pt x="202136" y="603687"/>
                  <a:pt x="194831" y="596393"/>
                  <a:pt x="194831" y="587519"/>
                </a:cubicBezTo>
                <a:lnTo>
                  <a:pt x="194831" y="16168"/>
                </a:lnTo>
                <a:cubicBezTo>
                  <a:pt x="194831" y="7294"/>
                  <a:pt x="202136" y="0"/>
                  <a:pt x="2110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/>
          <a:lstStyle/>
          <a:p>
            <a:endParaRPr lang="zh-CN" altLang="en-US"/>
          </a:p>
        </p:txBody>
      </p:sp>
      <p:grpSp>
        <p:nvGrpSpPr>
          <p:cNvPr id="4" name="组合 3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34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" name="矩形 1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sp>
        <p:nvSpPr>
          <p:cNvPr id="10" name="菱形 9"/>
          <p:cNvSpPr/>
          <p:nvPr/>
        </p:nvSpPr>
        <p:spPr>
          <a:xfrm>
            <a:off x="1375687" y="2338397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2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3242507" y="2597563"/>
            <a:ext cx="5277379" cy="1863107"/>
            <a:chOff x="2723241" y="3019858"/>
            <a:chExt cx="5592011" cy="1863107"/>
          </a:xfrm>
        </p:grpSpPr>
        <p:sp>
          <p:nvSpPr>
            <p:cNvPr id="6" name="文本框 5"/>
            <p:cNvSpPr txBox="1"/>
            <p:nvPr/>
          </p:nvSpPr>
          <p:spPr>
            <a:xfrm>
              <a:off x="2723241" y="3019858"/>
              <a:ext cx="2369848" cy="9185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0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完成情况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723241" y="3833310"/>
              <a:ext cx="5592011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6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ṡľídé"/>
          <p:cNvSpPr/>
          <p:nvPr/>
        </p:nvSpPr>
        <p:spPr bwMode="auto">
          <a:xfrm>
            <a:off x="3750519" y="1493889"/>
            <a:ext cx="4690961" cy="4678311"/>
          </a:xfrm>
          <a:prstGeom prst="donut">
            <a:avLst>
              <a:gd name="adj" fmla="val 5000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5" name="iṩľîḓè"/>
          <p:cNvSpPr/>
          <p:nvPr/>
        </p:nvSpPr>
        <p:spPr bwMode="auto">
          <a:xfrm>
            <a:off x="4219615" y="1961720"/>
            <a:ext cx="3752769" cy="3742648"/>
          </a:xfrm>
          <a:prstGeom prst="donut">
            <a:avLst>
              <a:gd name="adj" fmla="val 6250"/>
            </a:avLst>
          </a:prstGeom>
          <a:solidFill>
            <a:schemeClr val="tx2">
              <a:lumMod val="20000"/>
              <a:lumOff val="80000"/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6" name="iṣḻïde"/>
          <p:cNvSpPr/>
          <p:nvPr/>
        </p:nvSpPr>
        <p:spPr bwMode="auto">
          <a:xfrm>
            <a:off x="4688711" y="2429552"/>
            <a:ext cx="2814577" cy="2806986"/>
          </a:xfrm>
          <a:prstGeom prst="donut">
            <a:avLst>
              <a:gd name="adj" fmla="val 8333"/>
            </a:avLst>
          </a:prstGeom>
          <a:solidFill>
            <a:schemeClr val="tx2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7" name="íŝḻîďè"/>
          <p:cNvSpPr/>
          <p:nvPr/>
        </p:nvSpPr>
        <p:spPr bwMode="auto">
          <a:xfrm>
            <a:off x="5157807" y="2897382"/>
            <a:ext cx="1876385" cy="1871325"/>
          </a:xfrm>
          <a:prstGeom prst="ellipse">
            <a:avLst/>
          </a:prstGeom>
          <a:blipFill>
            <a:blip r:embed="rId3" cstate="screen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6" name="iSḷíḑé"/>
          <p:cNvSpPr/>
          <p:nvPr/>
        </p:nvSpPr>
        <p:spPr>
          <a:xfrm>
            <a:off x="3647611" y="2137019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7" name="ïšḷiḓè"/>
          <p:cNvSpPr/>
          <p:nvPr/>
        </p:nvSpPr>
        <p:spPr bwMode="auto">
          <a:xfrm>
            <a:off x="3942100" y="2458771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4" name="íṣḷïḑe"/>
          <p:cNvSpPr/>
          <p:nvPr/>
        </p:nvSpPr>
        <p:spPr>
          <a:xfrm>
            <a:off x="3647611" y="4326446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5" name="îŝḷide"/>
          <p:cNvSpPr/>
          <p:nvPr/>
        </p:nvSpPr>
        <p:spPr bwMode="auto">
          <a:xfrm>
            <a:off x="3942100" y="4648198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2" name="ïŝļiďé"/>
          <p:cNvSpPr/>
          <p:nvPr/>
        </p:nvSpPr>
        <p:spPr>
          <a:xfrm>
            <a:off x="7449236" y="2137019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3" name="iṡľiḍe"/>
          <p:cNvSpPr/>
          <p:nvPr/>
        </p:nvSpPr>
        <p:spPr bwMode="auto">
          <a:xfrm>
            <a:off x="7743725" y="2458771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0" name="ïŝḻîḓê"/>
          <p:cNvSpPr/>
          <p:nvPr/>
        </p:nvSpPr>
        <p:spPr>
          <a:xfrm>
            <a:off x="7449236" y="4326446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1" name="ï$ḷîḑè"/>
          <p:cNvSpPr/>
          <p:nvPr/>
        </p:nvSpPr>
        <p:spPr bwMode="auto">
          <a:xfrm>
            <a:off x="7743725" y="4648198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2" name="íṥlîďè"/>
          <p:cNvSpPr txBox="1"/>
          <p:nvPr/>
        </p:nvSpPr>
        <p:spPr bwMode="auto">
          <a:xfrm>
            <a:off x="1082901" y="2065315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3" name="îşḻîḍê"/>
          <p:cNvSpPr/>
          <p:nvPr/>
        </p:nvSpPr>
        <p:spPr bwMode="auto">
          <a:xfrm>
            <a:off x="1082901" y="2473495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4" name="iṧḻïdè"/>
          <p:cNvSpPr txBox="1"/>
          <p:nvPr/>
        </p:nvSpPr>
        <p:spPr bwMode="auto">
          <a:xfrm>
            <a:off x="8642242" y="2065315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5" name="ïś1îdê"/>
          <p:cNvSpPr/>
          <p:nvPr/>
        </p:nvSpPr>
        <p:spPr bwMode="auto">
          <a:xfrm>
            <a:off x="8642242" y="2473495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6" name="íşḻïḋê"/>
          <p:cNvSpPr txBox="1"/>
          <p:nvPr/>
        </p:nvSpPr>
        <p:spPr bwMode="auto">
          <a:xfrm>
            <a:off x="1082901" y="4360528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7" name="íṡ1iḑè"/>
          <p:cNvSpPr/>
          <p:nvPr/>
        </p:nvSpPr>
        <p:spPr bwMode="auto">
          <a:xfrm>
            <a:off x="1082901" y="4768708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8" name="îśľiḍè"/>
          <p:cNvSpPr txBox="1"/>
          <p:nvPr/>
        </p:nvSpPr>
        <p:spPr bwMode="auto">
          <a:xfrm>
            <a:off x="8642242" y="4360528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9" name="i$ľiḓê"/>
          <p:cNvSpPr/>
          <p:nvPr/>
        </p:nvSpPr>
        <p:spPr bwMode="auto">
          <a:xfrm>
            <a:off x="8642242" y="4768708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grpSp>
        <p:nvGrpSpPr>
          <p:cNvPr id="28" name="组合 27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29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" name="矩形 29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sp>
        <p:nvSpPr>
          <p:cNvPr id="10" name="菱形 9"/>
          <p:cNvSpPr/>
          <p:nvPr/>
        </p:nvSpPr>
        <p:spPr>
          <a:xfrm>
            <a:off x="1375687" y="2338397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3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3184451" y="2463918"/>
            <a:ext cx="5707554" cy="1992006"/>
            <a:chOff x="2723242" y="3147470"/>
            <a:chExt cx="5707554" cy="1992006"/>
          </a:xfrm>
        </p:grpSpPr>
        <p:sp>
          <p:nvSpPr>
            <p:cNvPr id="6" name="文本框 5"/>
            <p:cNvSpPr txBox="1"/>
            <p:nvPr/>
          </p:nvSpPr>
          <p:spPr>
            <a:xfrm>
              <a:off x="2723242" y="3147470"/>
              <a:ext cx="2441694" cy="1001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4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不足之处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838785" y="4089821"/>
              <a:ext cx="5592011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8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îślîďè"/>
          <p:cNvSpPr/>
          <p:nvPr/>
        </p:nvSpPr>
        <p:spPr>
          <a:xfrm>
            <a:off x="0" y="2006600"/>
            <a:ext cx="12192000" cy="1854200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6" name="iSḷíḑé"/>
          <p:cNvSpPr/>
          <p:nvPr/>
        </p:nvSpPr>
        <p:spPr bwMode="auto">
          <a:xfrm>
            <a:off x="674440" y="2287178"/>
            <a:ext cx="4797445" cy="1405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Theme color makes PPT more convenient to </a:t>
            </a:r>
            <a:r>
              <a:rPr lang="en-US" altLang="zh-CN" sz="1400" dirty="0" err="1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hange.Adjust</a:t>
            </a:r>
            <a:r>
              <a:rPr lang="en-US" altLang="zh-CN" sz="14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 the spacing to adapt to Chinese typesetting, use the reference line in PPT.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8" name="íšḻiḋe"/>
          <p:cNvSpPr/>
          <p:nvPr/>
        </p:nvSpPr>
        <p:spPr bwMode="auto">
          <a:xfrm>
            <a:off x="673100" y="5281259"/>
            <a:ext cx="2209800" cy="83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 …</a:t>
            </a:r>
          </a:p>
        </p:txBody>
      </p:sp>
      <p:sp>
        <p:nvSpPr>
          <p:cNvPr id="9" name="ïṩļïḋè"/>
          <p:cNvSpPr txBox="1"/>
          <p:nvPr/>
        </p:nvSpPr>
        <p:spPr bwMode="auto">
          <a:xfrm>
            <a:off x="673100" y="4779845"/>
            <a:ext cx="2209800" cy="501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0" name="iS1îdê"/>
          <p:cNvSpPr/>
          <p:nvPr/>
        </p:nvSpPr>
        <p:spPr bwMode="auto">
          <a:xfrm>
            <a:off x="3416302" y="5281259"/>
            <a:ext cx="2209800" cy="83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 …</a:t>
            </a:r>
          </a:p>
        </p:txBody>
      </p:sp>
      <p:sp>
        <p:nvSpPr>
          <p:cNvPr id="11" name="ïş1íḑè"/>
          <p:cNvSpPr txBox="1"/>
          <p:nvPr/>
        </p:nvSpPr>
        <p:spPr bwMode="auto">
          <a:xfrm>
            <a:off x="3416302" y="4779845"/>
            <a:ext cx="2209800" cy="501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2" name="i$ḷïďe"/>
          <p:cNvSpPr/>
          <p:nvPr/>
        </p:nvSpPr>
        <p:spPr bwMode="auto">
          <a:xfrm>
            <a:off x="1524000" y="4205734"/>
            <a:ext cx="508000" cy="460480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solidFill>
            <a:srgbClr val="0870D3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3" name="îṧ1îḋe"/>
          <p:cNvSpPr/>
          <p:nvPr/>
        </p:nvSpPr>
        <p:spPr bwMode="auto">
          <a:xfrm>
            <a:off x="4267202" y="4205734"/>
            <a:ext cx="508000" cy="460480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solidFill>
            <a:srgbClr val="0870D3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17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19" name="îšḻïdé"/>
          <p:cNvSpPr/>
          <p:nvPr/>
        </p:nvSpPr>
        <p:spPr>
          <a:xfrm>
            <a:off x="8791619" y="1011091"/>
            <a:ext cx="2725941" cy="4835819"/>
          </a:xfrm>
          <a:prstGeom prst="rect">
            <a:avLst/>
          </a:prstGeom>
          <a:blipFill>
            <a:blip r:embed="rId3" cstate="screen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0" name="îšḻïdé"/>
          <p:cNvSpPr/>
          <p:nvPr/>
        </p:nvSpPr>
        <p:spPr>
          <a:xfrm>
            <a:off x="7416800" y="1011090"/>
            <a:ext cx="2725941" cy="4835819"/>
          </a:xfrm>
          <a:prstGeom prst="rect">
            <a:avLst/>
          </a:prstGeom>
          <a:blipFill>
            <a:blip r:embed="rId3" cstate="screen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8" grpId="0"/>
      <p:bldP spid="9" grpId="0"/>
      <p:bldP spid="10" grpId="0"/>
      <p:bldP spid="11" grpId="0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蓝色渐变工作汇报通用PPT模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VECTOR" val="#418846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2f6f956-74f0-4e48-b063-fde34c17ff1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VECTOR" val="#418846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2f6f956-74f0-4e48-b063-fde34c17ff18"/>
</p:tagLst>
</file>

<file path=ppt/theme/theme1.xml><?xml version="1.0" encoding="utf-8"?>
<a:theme xmlns:a="http://schemas.openxmlformats.org/drawingml/2006/main" name="www.2ppt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4CFF"/>
      </a:accent1>
      <a:accent2>
        <a:srgbClr val="00BEFF"/>
      </a:accent2>
      <a:accent3>
        <a:srgbClr val="F8CE6F"/>
      </a:accent3>
      <a:accent4>
        <a:srgbClr val="D4A1EA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4CFF"/>
      </a:accent1>
      <a:accent2>
        <a:srgbClr val="00BEFF"/>
      </a:accent2>
      <a:accent3>
        <a:srgbClr val="F8CE6F"/>
      </a:accent3>
      <a:accent4>
        <a:srgbClr val="D4A1EA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4CFF"/>
    </a:accent1>
    <a:accent2>
      <a:srgbClr val="00BEFF"/>
    </a:accent2>
    <a:accent3>
      <a:srgbClr val="F8CE6F"/>
    </a:accent3>
    <a:accent4>
      <a:srgbClr val="D4A1EA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4CFF"/>
    </a:accent1>
    <a:accent2>
      <a:srgbClr val="00BEFF"/>
    </a:accent2>
    <a:accent3>
      <a:srgbClr val="F8CE6F"/>
    </a:accent3>
    <a:accent4>
      <a:srgbClr val="D4A1EA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8</Words>
  <Application>Microsoft Office PowerPoint</Application>
  <PresentationFormat>宽屏</PresentationFormat>
  <Paragraphs>164</Paragraphs>
  <Slides>15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30" baseType="lpstr">
      <vt:lpstr>Open Sans</vt:lpstr>
      <vt:lpstr>仓耳青禾体-谷力 W05</vt:lpstr>
      <vt:lpstr>等线</vt:lpstr>
      <vt:lpstr>等线 Light</vt:lpstr>
      <vt:lpstr>三极准柔宋</vt:lpstr>
      <vt:lpstr>思源黑体 CN Bold</vt:lpstr>
      <vt:lpstr>思源黑体 CN Normal</vt:lpstr>
      <vt:lpstr>宋体</vt:lpstr>
      <vt:lpstr>微软雅黑</vt:lpstr>
      <vt:lpstr>Arial</vt:lpstr>
      <vt:lpstr>Calibri</vt:lpstr>
      <vt:lpstr>www.2ppt.com</vt:lpstr>
      <vt:lpstr>主题5</vt:lpstr>
      <vt:lpstr>1_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ppt818.com</dc:title>
  <dc:subject>www.ppt818.com</dc:subject>
  <dc:creator>www.ppt818.com</dc:creator>
  <dc:description>www.ppt818.com-提供资源下载</dc:description>
  <cp:lastModifiedBy>Windows 用户</cp:lastModifiedBy>
  <cp:revision>4</cp:revision>
  <dcterms:created xsi:type="dcterms:W3CDTF">2021-05-18T08:55:27Z</dcterms:created>
  <dcterms:modified xsi:type="dcterms:W3CDTF">2023-01-11T02:0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495</vt:lpwstr>
  </property>
  <property fmtid="{D5CDD505-2E9C-101B-9397-08002B2CF9AE}" pid="3" name="ICV">
    <vt:lpwstr>2C23B7B2DF1645339AEDA25679538123</vt:lpwstr>
  </property>
  <property fmtid="{A09F084E-AD41-489F-8076-AA5BE3082BCA}" pid="100">
    <vt:ui4>5</vt:ui4>
  </property>
  <property fmtid="{64440492-4C8B-11D1-8B70-080036B11A03}" pid="11">
    <vt:lpwstr>www.2ppt.com-爱PPT提供资源下载</vt:lpwstr>
  </property>
</Properties>
</file>